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33"/>
  </p:notesMasterIdLst>
  <p:sldIdLst>
    <p:sldId id="264" r:id="rId5"/>
    <p:sldId id="1132" r:id="rId6"/>
    <p:sldId id="1958" r:id="rId7"/>
    <p:sldId id="302" r:id="rId8"/>
    <p:sldId id="1966" r:id="rId9"/>
    <p:sldId id="1969" r:id="rId10"/>
    <p:sldId id="303" r:id="rId11"/>
    <p:sldId id="304" r:id="rId12"/>
    <p:sldId id="305" r:id="rId13"/>
    <p:sldId id="1973" r:id="rId14"/>
    <p:sldId id="308" r:id="rId15"/>
    <p:sldId id="307" r:id="rId16"/>
    <p:sldId id="1974" r:id="rId17"/>
    <p:sldId id="1967" r:id="rId18"/>
    <p:sldId id="295" r:id="rId19"/>
    <p:sldId id="296" r:id="rId20"/>
    <p:sldId id="1968" r:id="rId21"/>
    <p:sldId id="297" r:id="rId22"/>
    <p:sldId id="1975" r:id="rId23"/>
    <p:sldId id="301" r:id="rId24"/>
    <p:sldId id="1970" r:id="rId25"/>
    <p:sldId id="298" r:id="rId26"/>
    <p:sldId id="300" r:id="rId27"/>
    <p:sldId id="1976" r:id="rId28"/>
    <p:sldId id="1971" r:id="rId29"/>
    <p:sldId id="1972" r:id="rId30"/>
    <p:sldId id="1962" r:id="rId31"/>
    <p:sldId id="1963" r:id="rId32"/>
  </p:sldIdLst>
  <p:sldSz cx="12192000" cy="6858000"/>
  <p:notesSz cx="7010400" cy="9296400"/>
  <p:custDataLst>
    <p:tags r:id="rId3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DAE156-6A94-9205-EE7C-E046E335D1EB}" name="Nadkarni, Nikhil" initials="NN" userId="S::nnadkarni@Cambridgema.gov::8cb4e2ce-db3a-48d0-bf6f-d5eb8967a6f9" providerId="AD"/>
  <p188:author id="{90EA6BB1-1735-C5BB-99AC-EAA57B7C2576}" name="Nadkarni, Nikhil" initials="NN" userId="S::nnadkarni@cambridgema.gov::8cb4e2ce-db3a-48d0-bf6f-d5eb8967a6f9" providerId="AD"/>
  <p188:author id="{AE6035DD-83A2-B4BB-C541-65A95A66ECFF}" name="Rasmussen, Susanne" initials="RS" userId="S::srasmussen@cambridgema.gov::0bd74171-9339-45ee-b4ef-ce827adfd046"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12ADB2-B477-4EEB-A084-4589156AB8D0}" v="1" dt="2023-07-13T21:32:46.0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a, Crystal" userId="fb74c9b1-33bd-4af2-8565-ea2bdc65fe6b" providerId="ADAL" clId="{5F6D2B90-59AC-4312-A305-A6973559A963}"/>
    <pc:docChg chg="modSld">
      <pc:chgData name="Rosa, Crystal" userId="fb74c9b1-33bd-4af2-8565-ea2bdc65fe6b" providerId="ADAL" clId="{5F6D2B90-59AC-4312-A305-A6973559A963}" dt="2023-07-11T00:14:12.204" v="27" actId="13244"/>
      <pc:docMkLst>
        <pc:docMk/>
      </pc:docMkLst>
      <pc:sldChg chg="modSp mod">
        <pc:chgData name="Rosa, Crystal" userId="fb74c9b1-33bd-4af2-8565-ea2bdc65fe6b" providerId="ADAL" clId="{5F6D2B90-59AC-4312-A305-A6973559A963}" dt="2023-07-11T00:10:41.531" v="15" actId="13244"/>
        <pc:sldMkLst>
          <pc:docMk/>
          <pc:sldMk cId="1323482831" sldId="264"/>
        </pc:sldMkLst>
        <pc:spChg chg="ord">
          <ac:chgData name="Rosa, Crystal" userId="fb74c9b1-33bd-4af2-8565-ea2bdc65fe6b" providerId="ADAL" clId="{5F6D2B90-59AC-4312-A305-A6973559A963}" dt="2023-07-11T00:08:21.709" v="3" actId="13244"/>
          <ac:spMkLst>
            <pc:docMk/>
            <pc:sldMk cId="1323482831" sldId="264"/>
            <ac:spMk id="2" creationId="{75B90E77-7E96-13CD-A0C5-93F1CBBC75ED}"/>
          </ac:spMkLst>
        </pc:spChg>
        <pc:spChg chg="ord">
          <ac:chgData name="Rosa, Crystal" userId="fb74c9b1-33bd-4af2-8565-ea2bdc65fe6b" providerId="ADAL" clId="{5F6D2B90-59AC-4312-A305-A6973559A963}" dt="2023-07-11T00:10:41.531" v="15" actId="13244"/>
          <ac:spMkLst>
            <pc:docMk/>
            <pc:sldMk cId="1323482831" sldId="264"/>
            <ac:spMk id="5" creationId="{27CC345D-F1D6-4C2C-A33C-0C48F59A7642}"/>
          </ac:spMkLst>
        </pc:spChg>
        <pc:spChg chg="ord">
          <ac:chgData name="Rosa, Crystal" userId="fb74c9b1-33bd-4af2-8565-ea2bdc65fe6b" providerId="ADAL" clId="{5F6D2B90-59AC-4312-A305-A6973559A963}" dt="2023-07-11T00:08:17.511" v="2" actId="13244"/>
          <ac:spMkLst>
            <pc:docMk/>
            <pc:sldMk cId="1323482831" sldId="264"/>
            <ac:spMk id="15" creationId="{C326D269-7F41-4E44-8A13-AE1B695E8677}"/>
          </ac:spMkLst>
        </pc:spChg>
      </pc:sldChg>
      <pc:sldChg chg="modSp mod">
        <pc:chgData name="Rosa, Crystal" userId="fb74c9b1-33bd-4af2-8565-ea2bdc65fe6b" providerId="ADAL" clId="{5F6D2B90-59AC-4312-A305-A6973559A963}" dt="2023-07-11T00:12:53.164" v="21" actId="13244"/>
        <pc:sldMkLst>
          <pc:docMk/>
          <pc:sldMk cId="3259736002" sldId="297"/>
        </pc:sldMkLst>
        <pc:spChg chg="ord">
          <ac:chgData name="Rosa, Crystal" userId="fb74c9b1-33bd-4af2-8565-ea2bdc65fe6b" providerId="ADAL" clId="{5F6D2B90-59AC-4312-A305-A6973559A963}" dt="2023-07-11T00:12:53.164" v="21" actId="13244"/>
          <ac:spMkLst>
            <pc:docMk/>
            <pc:sldMk cId="3259736002" sldId="297"/>
            <ac:spMk id="4" creationId="{96B35D68-DDEC-DA4B-6BA6-36BEC583C076}"/>
          </ac:spMkLst>
        </pc:spChg>
      </pc:sldChg>
      <pc:sldChg chg="modSp mod">
        <pc:chgData name="Rosa, Crystal" userId="fb74c9b1-33bd-4af2-8565-ea2bdc65fe6b" providerId="ADAL" clId="{5F6D2B90-59AC-4312-A305-A6973559A963}" dt="2023-07-11T00:12:31.718" v="20" actId="13244"/>
        <pc:sldMkLst>
          <pc:docMk/>
          <pc:sldMk cId="813981643" sldId="301"/>
        </pc:sldMkLst>
        <pc:spChg chg="ord">
          <ac:chgData name="Rosa, Crystal" userId="fb74c9b1-33bd-4af2-8565-ea2bdc65fe6b" providerId="ADAL" clId="{5F6D2B90-59AC-4312-A305-A6973559A963}" dt="2023-07-11T00:12:31.718" v="20" actId="13244"/>
          <ac:spMkLst>
            <pc:docMk/>
            <pc:sldMk cId="813981643" sldId="301"/>
            <ac:spMk id="7" creationId="{E51C2173-2F81-6980-F1ED-A887E798F795}"/>
          </ac:spMkLst>
        </pc:spChg>
      </pc:sldChg>
      <pc:sldChg chg="modSp mod">
        <pc:chgData name="Rosa, Crystal" userId="fb74c9b1-33bd-4af2-8565-ea2bdc65fe6b" providerId="ADAL" clId="{5F6D2B90-59AC-4312-A305-A6973559A963}" dt="2023-07-11T00:09:59.678" v="10" actId="13244"/>
        <pc:sldMkLst>
          <pc:docMk/>
          <pc:sldMk cId="1650613911" sldId="303"/>
        </pc:sldMkLst>
        <pc:spChg chg="ord">
          <ac:chgData name="Rosa, Crystal" userId="fb74c9b1-33bd-4af2-8565-ea2bdc65fe6b" providerId="ADAL" clId="{5F6D2B90-59AC-4312-A305-A6973559A963}" dt="2023-07-11T00:09:56.235" v="9" actId="13244"/>
          <ac:spMkLst>
            <pc:docMk/>
            <pc:sldMk cId="1650613911" sldId="303"/>
            <ac:spMk id="8" creationId="{8DE9A669-D776-4F40-B93F-5C8937EDB3CB}"/>
          </ac:spMkLst>
        </pc:spChg>
        <pc:spChg chg="ord">
          <ac:chgData name="Rosa, Crystal" userId="fb74c9b1-33bd-4af2-8565-ea2bdc65fe6b" providerId="ADAL" clId="{5F6D2B90-59AC-4312-A305-A6973559A963}" dt="2023-07-11T00:09:59.678" v="10" actId="13244"/>
          <ac:spMkLst>
            <pc:docMk/>
            <pc:sldMk cId="1650613911" sldId="303"/>
            <ac:spMk id="9" creationId="{BADF41E3-B302-4C05-B004-242B35D59BFB}"/>
          </ac:spMkLst>
        </pc:spChg>
      </pc:sldChg>
      <pc:sldChg chg="modSp mod">
        <pc:chgData name="Rosa, Crystal" userId="fb74c9b1-33bd-4af2-8565-ea2bdc65fe6b" providerId="ADAL" clId="{5F6D2B90-59AC-4312-A305-A6973559A963}" dt="2023-07-11T00:10:28.296" v="14" actId="13244"/>
        <pc:sldMkLst>
          <pc:docMk/>
          <pc:sldMk cId="1054884385" sldId="304"/>
        </pc:sldMkLst>
        <pc:spChg chg="ord">
          <ac:chgData name="Rosa, Crystal" userId="fb74c9b1-33bd-4af2-8565-ea2bdc65fe6b" providerId="ADAL" clId="{5F6D2B90-59AC-4312-A305-A6973559A963}" dt="2023-07-11T00:10:16.807" v="11" actId="13244"/>
          <ac:spMkLst>
            <pc:docMk/>
            <pc:sldMk cId="1054884385" sldId="304"/>
            <ac:spMk id="8" creationId="{8DE9A669-D776-4F40-B93F-5C8937EDB3CB}"/>
          </ac:spMkLst>
        </pc:spChg>
        <pc:spChg chg="ord">
          <ac:chgData name="Rosa, Crystal" userId="fb74c9b1-33bd-4af2-8565-ea2bdc65fe6b" providerId="ADAL" clId="{5F6D2B90-59AC-4312-A305-A6973559A963}" dt="2023-07-11T00:10:18.961" v="12" actId="13244"/>
          <ac:spMkLst>
            <pc:docMk/>
            <pc:sldMk cId="1054884385" sldId="304"/>
            <ac:spMk id="9" creationId="{BADF41E3-B302-4C05-B004-242B35D59BFB}"/>
          </ac:spMkLst>
        </pc:spChg>
        <pc:picChg chg="mod ord">
          <ac:chgData name="Rosa, Crystal" userId="fb74c9b1-33bd-4af2-8565-ea2bdc65fe6b" providerId="ADAL" clId="{5F6D2B90-59AC-4312-A305-A6973559A963}" dt="2023-07-11T00:10:28.296" v="14" actId="13244"/>
          <ac:picMkLst>
            <pc:docMk/>
            <pc:sldMk cId="1054884385" sldId="304"/>
            <ac:picMk id="3" creationId="{FAE45911-6294-4543-5D47-8CC65D76669B}"/>
          </ac:picMkLst>
        </pc:picChg>
      </pc:sldChg>
      <pc:sldChg chg="modSp mod">
        <pc:chgData name="Rosa, Crystal" userId="fb74c9b1-33bd-4af2-8565-ea2bdc65fe6b" providerId="ADAL" clId="{5F6D2B90-59AC-4312-A305-A6973559A963}" dt="2023-07-11T00:14:12.204" v="27" actId="13244"/>
        <pc:sldMkLst>
          <pc:docMk/>
          <pc:sldMk cId="156447753" sldId="305"/>
        </pc:sldMkLst>
        <pc:spChg chg="ord">
          <ac:chgData name="Rosa, Crystal" userId="fb74c9b1-33bd-4af2-8565-ea2bdc65fe6b" providerId="ADAL" clId="{5F6D2B90-59AC-4312-A305-A6973559A963}" dt="2023-07-11T00:14:08.832" v="26" actId="13244"/>
          <ac:spMkLst>
            <pc:docMk/>
            <pc:sldMk cId="156447753" sldId="305"/>
            <ac:spMk id="8" creationId="{8DE9A669-D776-4F40-B93F-5C8937EDB3CB}"/>
          </ac:spMkLst>
        </pc:spChg>
        <pc:spChg chg="ord">
          <ac:chgData name="Rosa, Crystal" userId="fb74c9b1-33bd-4af2-8565-ea2bdc65fe6b" providerId="ADAL" clId="{5F6D2B90-59AC-4312-A305-A6973559A963}" dt="2023-07-11T00:14:12.204" v="27" actId="13244"/>
          <ac:spMkLst>
            <pc:docMk/>
            <pc:sldMk cId="156447753" sldId="305"/>
            <ac:spMk id="9" creationId="{BADF41E3-B302-4C05-B004-242B35D59BFB}"/>
          </ac:spMkLst>
        </pc:spChg>
      </pc:sldChg>
      <pc:sldChg chg="modSp mod">
        <pc:chgData name="Rosa, Crystal" userId="fb74c9b1-33bd-4af2-8565-ea2bdc65fe6b" providerId="ADAL" clId="{5F6D2B90-59AC-4312-A305-A6973559A963}" dt="2023-07-11T00:13:41.291" v="23" actId="13244"/>
        <pc:sldMkLst>
          <pc:docMk/>
          <pc:sldMk cId="1936964873" sldId="307"/>
        </pc:sldMkLst>
        <pc:spChg chg="ord">
          <ac:chgData name="Rosa, Crystal" userId="fb74c9b1-33bd-4af2-8565-ea2bdc65fe6b" providerId="ADAL" clId="{5F6D2B90-59AC-4312-A305-A6973559A963}" dt="2023-07-11T00:13:36.364" v="22" actId="13244"/>
          <ac:spMkLst>
            <pc:docMk/>
            <pc:sldMk cId="1936964873" sldId="307"/>
            <ac:spMk id="8" creationId="{8DE9A669-D776-4F40-B93F-5C8937EDB3CB}"/>
          </ac:spMkLst>
        </pc:spChg>
        <pc:spChg chg="ord">
          <ac:chgData name="Rosa, Crystal" userId="fb74c9b1-33bd-4af2-8565-ea2bdc65fe6b" providerId="ADAL" clId="{5F6D2B90-59AC-4312-A305-A6973559A963}" dt="2023-07-11T00:13:41.291" v="23" actId="13244"/>
          <ac:spMkLst>
            <pc:docMk/>
            <pc:sldMk cId="1936964873" sldId="307"/>
            <ac:spMk id="9" creationId="{BADF41E3-B302-4C05-B004-242B35D59BFB}"/>
          </ac:spMkLst>
        </pc:spChg>
      </pc:sldChg>
      <pc:sldChg chg="modSp mod">
        <pc:chgData name="Rosa, Crystal" userId="fb74c9b1-33bd-4af2-8565-ea2bdc65fe6b" providerId="ADAL" clId="{5F6D2B90-59AC-4312-A305-A6973559A963}" dt="2023-07-11T00:10:57.810" v="16" actId="13244"/>
        <pc:sldMkLst>
          <pc:docMk/>
          <pc:sldMk cId="1963271544" sldId="1132"/>
        </pc:sldMkLst>
        <pc:spChg chg="ord">
          <ac:chgData name="Rosa, Crystal" userId="fb74c9b1-33bd-4af2-8565-ea2bdc65fe6b" providerId="ADAL" clId="{5F6D2B90-59AC-4312-A305-A6973559A963}" dt="2023-07-11T00:08:48.506" v="4" actId="13244"/>
          <ac:spMkLst>
            <pc:docMk/>
            <pc:sldMk cId="1963271544" sldId="1132"/>
            <ac:spMk id="4" creationId="{9DA8C127-7518-02FF-2670-E6AF73DACDE2}"/>
          </ac:spMkLst>
        </pc:spChg>
        <pc:spChg chg="ord">
          <ac:chgData name="Rosa, Crystal" userId="fb74c9b1-33bd-4af2-8565-ea2bdc65fe6b" providerId="ADAL" clId="{5F6D2B90-59AC-4312-A305-A6973559A963}" dt="2023-07-11T00:10:57.810" v="16" actId="13244"/>
          <ac:spMkLst>
            <pc:docMk/>
            <pc:sldMk cId="1963271544" sldId="1132"/>
            <ac:spMk id="26" creationId="{07CE0FFF-B88F-4BF6-A69A-2F7EF781B2CD}"/>
          </ac:spMkLst>
        </pc:spChg>
      </pc:sldChg>
      <pc:sldChg chg="modSp mod delCm">
        <pc:chgData name="Rosa, Crystal" userId="fb74c9b1-33bd-4af2-8565-ea2bdc65fe6b" providerId="ADAL" clId="{5F6D2B90-59AC-4312-A305-A6973559A963}" dt="2023-07-11T00:09:12.382" v="6" actId="13244"/>
        <pc:sldMkLst>
          <pc:docMk/>
          <pc:sldMk cId="3474700355" sldId="1958"/>
        </pc:sldMkLst>
        <pc:spChg chg="ord">
          <ac:chgData name="Rosa, Crystal" userId="fb74c9b1-33bd-4af2-8565-ea2bdc65fe6b" providerId="ADAL" clId="{5F6D2B90-59AC-4312-A305-A6973559A963}" dt="2023-07-11T00:09:02.935" v="5" actId="13244"/>
          <ac:spMkLst>
            <pc:docMk/>
            <pc:sldMk cId="3474700355" sldId="1958"/>
            <ac:spMk id="2" creationId="{A2803681-83BA-14F1-D3BA-1D9F3C619B06}"/>
          </ac:spMkLst>
        </pc:spChg>
        <pc:spChg chg="ord">
          <ac:chgData name="Rosa, Crystal" userId="fb74c9b1-33bd-4af2-8565-ea2bdc65fe6b" providerId="ADAL" clId="{5F6D2B90-59AC-4312-A305-A6973559A963}" dt="2023-07-11T00:09:12.382" v="6" actId="13244"/>
          <ac:spMkLst>
            <pc:docMk/>
            <pc:sldMk cId="3474700355" sldId="1958"/>
            <ac:spMk id="15" creationId="{133C9064-36E8-9E93-C896-7069C24EFB28}"/>
          </ac:spMkLst>
        </pc:spChg>
        <pc:extLst>
          <p:ext xmlns:p="http://schemas.openxmlformats.org/presentationml/2006/main" uri="{D6D511B9-2390-475A-947B-AFAB55BFBCF1}">
            <pc226:cmChg xmlns:pc226="http://schemas.microsoft.com/office/powerpoint/2022/06/main/command" chg="del">
              <pc226:chgData name="Rosa, Crystal" userId="fb74c9b1-33bd-4af2-8565-ea2bdc65fe6b" providerId="ADAL" clId="{5F6D2B90-59AC-4312-A305-A6973559A963}" dt="2023-07-11T00:07:19.389" v="0"/>
              <pc2:cmMkLst xmlns:pc2="http://schemas.microsoft.com/office/powerpoint/2019/9/main/command">
                <pc:docMk/>
                <pc:sldMk cId="3474700355" sldId="1958"/>
                <pc2:cmMk id="{033F00EE-953C-4860-A001-328382969B86}"/>
              </pc2:cmMkLst>
            </pc226:cmChg>
          </p:ext>
        </pc:extLst>
      </pc:sldChg>
      <pc:sldChg chg="modSp mod">
        <pc:chgData name="Rosa, Crystal" userId="fb74c9b1-33bd-4af2-8565-ea2bdc65fe6b" providerId="ADAL" clId="{5F6D2B90-59AC-4312-A305-A6973559A963}" dt="2023-07-11T00:11:32.066" v="17" actId="13244"/>
        <pc:sldMkLst>
          <pc:docMk/>
          <pc:sldMk cId="3992210531" sldId="1962"/>
        </pc:sldMkLst>
        <pc:spChg chg="ord">
          <ac:chgData name="Rosa, Crystal" userId="fb74c9b1-33bd-4af2-8565-ea2bdc65fe6b" providerId="ADAL" clId="{5F6D2B90-59AC-4312-A305-A6973559A963}" dt="2023-07-11T00:11:32.066" v="17" actId="13244"/>
          <ac:spMkLst>
            <pc:docMk/>
            <pc:sldMk cId="3992210531" sldId="1962"/>
            <ac:spMk id="3" creationId="{2088BC24-1734-6419-1D44-083DDAA0362A}"/>
          </ac:spMkLst>
        </pc:spChg>
      </pc:sldChg>
      <pc:sldChg chg="modSp mod">
        <pc:chgData name="Rosa, Crystal" userId="fb74c9b1-33bd-4af2-8565-ea2bdc65fe6b" providerId="ADAL" clId="{5F6D2B90-59AC-4312-A305-A6973559A963}" dt="2023-07-11T00:09:46.111" v="8" actId="13244"/>
        <pc:sldMkLst>
          <pc:docMk/>
          <pc:sldMk cId="1389041451" sldId="1969"/>
        </pc:sldMkLst>
        <pc:spChg chg="ord">
          <ac:chgData name="Rosa, Crystal" userId="fb74c9b1-33bd-4af2-8565-ea2bdc65fe6b" providerId="ADAL" clId="{5F6D2B90-59AC-4312-A305-A6973559A963}" dt="2023-07-11T00:09:44.131" v="7" actId="13244"/>
          <ac:spMkLst>
            <pc:docMk/>
            <pc:sldMk cId="1389041451" sldId="1969"/>
            <ac:spMk id="8" creationId="{8DE9A669-D776-4F40-B93F-5C8937EDB3CB}"/>
          </ac:spMkLst>
        </pc:spChg>
        <pc:spChg chg="ord">
          <ac:chgData name="Rosa, Crystal" userId="fb74c9b1-33bd-4af2-8565-ea2bdc65fe6b" providerId="ADAL" clId="{5F6D2B90-59AC-4312-A305-A6973559A963}" dt="2023-07-11T00:09:46.111" v="8" actId="13244"/>
          <ac:spMkLst>
            <pc:docMk/>
            <pc:sldMk cId="1389041451" sldId="1969"/>
            <ac:spMk id="9" creationId="{BADF41E3-B302-4C05-B004-242B35D59BFB}"/>
          </ac:spMkLst>
        </pc:spChg>
      </pc:sldChg>
      <pc:sldChg chg="modSp mod">
        <pc:chgData name="Rosa, Crystal" userId="fb74c9b1-33bd-4af2-8565-ea2bdc65fe6b" providerId="ADAL" clId="{5F6D2B90-59AC-4312-A305-A6973559A963}" dt="2023-07-11T00:07:49.569" v="1" actId="962"/>
        <pc:sldMkLst>
          <pc:docMk/>
          <pc:sldMk cId="472625034" sldId="1971"/>
        </pc:sldMkLst>
        <pc:spChg chg="mod">
          <ac:chgData name="Rosa, Crystal" userId="fb74c9b1-33bd-4af2-8565-ea2bdc65fe6b" providerId="ADAL" clId="{5F6D2B90-59AC-4312-A305-A6973559A963}" dt="2023-07-11T00:07:49.569" v="1" actId="962"/>
          <ac:spMkLst>
            <pc:docMk/>
            <pc:sldMk cId="472625034" sldId="1971"/>
            <ac:spMk id="6" creationId="{0038D609-7001-4947-92BB-A379E0414168}"/>
          </ac:spMkLst>
        </pc:spChg>
      </pc:sldChg>
      <pc:sldChg chg="modSp mod">
        <pc:chgData name="Rosa, Crystal" userId="fb74c9b1-33bd-4af2-8565-ea2bdc65fe6b" providerId="ADAL" clId="{5F6D2B90-59AC-4312-A305-A6973559A963}" dt="2023-07-11T00:11:42.528" v="19" actId="13244"/>
        <pc:sldMkLst>
          <pc:docMk/>
          <pc:sldMk cId="175234593" sldId="1972"/>
        </pc:sldMkLst>
        <pc:spChg chg="ord">
          <ac:chgData name="Rosa, Crystal" userId="fb74c9b1-33bd-4af2-8565-ea2bdc65fe6b" providerId="ADAL" clId="{5F6D2B90-59AC-4312-A305-A6973559A963}" dt="2023-07-11T00:11:39.928" v="18" actId="13244"/>
          <ac:spMkLst>
            <pc:docMk/>
            <pc:sldMk cId="175234593" sldId="1972"/>
            <ac:spMk id="8" creationId="{8DE9A669-D776-4F40-B93F-5C8937EDB3CB}"/>
          </ac:spMkLst>
        </pc:spChg>
        <pc:spChg chg="ord">
          <ac:chgData name="Rosa, Crystal" userId="fb74c9b1-33bd-4af2-8565-ea2bdc65fe6b" providerId="ADAL" clId="{5F6D2B90-59AC-4312-A305-A6973559A963}" dt="2023-07-11T00:11:42.528" v="19" actId="13244"/>
          <ac:spMkLst>
            <pc:docMk/>
            <pc:sldMk cId="175234593" sldId="1972"/>
            <ac:spMk id="9" creationId="{BADF41E3-B302-4C05-B004-242B35D59BFB}"/>
          </ac:spMkLst>
        </pc:spChg>
      </pc:sldChg>
      <pc:sldChg chg="modSp mod">
        <pc:chgData name="Rosa, Crystal" userId="fb74c9b1-33bd-4af2-8565-ea2bdc65fe6b" providerId="ADAL" clId="{5F6D2B90-59AC-4312-A305-A6973559A963}" dt="2023-07-11T00:13:58.799" v="25" actId="13244"/>
        <pc:sldMkLst>
          <pc:docMk/>
          <pc:sldMk cId="2953531974" sldId="1973"/>
        </pc:sldMkLst>
        <pc:spChg chg="ord">
          <ac:chgData name="Rosa, Crystal" userId="fb74c9b1-33bd-4af2-8565-ea2bdc65fe6b" providerId="ADAL" clId="{5F6D2B90-59AC-4312-A305-A6973559A963}" dt="2023-07-11T00:13:55.459" v="24" actId="13244"/>
          <ac:spMkLst>
            <pc:docMk/>
            <pc:sldMk cId="2953531974" sldId="1973"/>
            <ac:spMk id="8" creationId="{8DE9A669-D776-4F40-B93F-5C8937EDB3CB}"/>
          </ac:spMkLst>
        </pc:spChg>
        <pc:spChg chg="ord">
          <ac:chgData name="Rosa, Crystal" userId="fb74c9b1-33bd-4af2-8565-ea2bdc65fe6b" providerId="ADAL" clId="{5F6D2B90-59AC-4312-A305-A6973559A963}" dt="2023-07-11T00:13:58.799" v="25" actId="13244"/>
          <ac:spMkLst>
            <pc:docMk/>
            <pc:sldMk cId="2953531974" sldId="1973"/>
            <ac:spMk id="9" creationId="{BADF41E3-B302-4C05-B004-242B35D59BFB}"/>
          </ac:spMkLst>
        </pc:spChg>
      </pc:sldChg>
    </pc:docChg>
  </pc:docChgLst>
  <pc:docChgLst>
    <pc:chgData name="Rasmussen, Susanne" userId="0bd74171-9339-45ee-b4ef-ce827adfd046" providerId="ADAL" clId="{9A7DD9CE-4C06-48AB-9E64-1F168ED79126}"/>
    <pc:docChg chg="undo custSel addSld delSld modSld sldOrd addMainMaster delMainMaster">
      <pc:chgData name="Rasmussen, Susanne" userId="0bd74171-9339-45ee-b4ef-ce827adfd046" providerId="ADAL" clId="{9A7DD9CE-4C06-48AB-9E64-1F168ED79126}" dt="2023-07-10T20:26:38.510" v="2304" actId="20577"/>
      <pc:docMkLst>
        <pc:docMk/>
      </pc:docMkLst>
      <pc:sldChg chg="delSp">
        <pc:chgData name="Rasmussen, Susanne" userId="0bd74171-9339-45ee-b4ef-ce827adfd046" providerId="ADAL" clId="{9A7DD9CE-4C06-48AB-9E64-1F168ED79126}" dt="2023-07-06T19:48:15.328" v="1"/>
        <pc:sldMkLst>
          <pc:docMk/>
          <pc:sldMk cId="1323482831" sldId="264"/>
        </pc:sldMkLst>
        <pc:picChg chg="del">
          <ac:chgData name="Rasmussen, Susanne" userId="0bd74171-9339-45ee-b4ef-ce827adfd046" providerId="ADAL" clId="{9A7DD9CE-4C06-48AB-9E64-1F168ED79126}" dt="2023-07-06T19:48:15.328" v="1"/>
          <ac:picMkLst>
            <pc:docMk/>
            <pc:sldMk cId="1323482831" sldId="264"/>
            <ac:picMk id="7" creationId="{93A9D629-E301-7C1B-D60D-C87D336F6BD5}"/>
          </ac:picMkLst>
        </pc:picChg>
      </pc:sldChg>
      <pc:sldChg chg="modSp add del">
        <pc:chgData name="Rasmussen, Susanne" userId="0bd74171-9339-45ee-b4ef-ce827adfd046" providerId="ADAL" clId="{9A7DD9CE-4C06-48AB-9E64-1F168ED79126}" dt="2023-07-07T14:04:06.831" v="378"/>
        <pc:sldMkLst>
          <pc:docMk/>
          <pc:sldMk cId="950041717" sldId="278"/>
        </pc:sldMkLst>
        <pc:spChg chg="mod">
          <ac:chgData name="Rasmussen, Susanne" userId="0bd74171-9339-45ee-b4ef-ce827adfd046" providerId="ADAL" clId="{9A7DD9CE-4C06-48AB-9E64-1F168ED79126}" dt="2023-07-07T14:04:00.546" v="377"/>
          <ac:spMkLst>
            <pc:docMk/>
            <pc:sldMk cId="950041717" sldId="278"/>
            <ac:spMk id="4" creationId="{49C9271C-08C5-F468-50CE-D24ECE6536F2}"/>
          </ac:spMkLst>
        </pc:spChg>
      </pc:sldChg>
      <pc:sldChg chg="del">
        <pc:chgData name="Rasmussen, Susanne" userId="0bd74171-9339-45ee-b4ef-ce827adfd046" providerId="ADAL" clId="{9A7DD9CE-4C06-48AB-9E64-1F168ED79126}" dt="2023-07-07T14:08:10.471" v="387" actId="2696"/>
        <pc:sldMkLst>
          <pc:docMk/>
          <pc:sldMk cId="1472176988" sldId="278"/>
        </pc:sldMkLst>
      </pc:sldChg>
      <pc:sldChg chg="modSp add del mod ord addCm modCm">
        <pc:chgData name="Rasmussen, Susanne" userId="0bd74171-9339-45ee-b4ef-ce827adfd046" providerId="ADAL" clId="{9A7DD9CE-4C06-48AB-9E64-1F168ED79126}" dt="2023-07-07T14:04:40.753" v="383" actId="2696"/>
        <pc:sldMkLst>
          <pc:docMk/>
          <pc:sldMk cId="1529278536" sldId="278"/>
        </pc:sldMkLst>
        <pc:spChg chg="mod">
          <ac:chgData name="Rasmussen, Susanne" userId="0bd74171-9339-45ee-b4ef-ce827adfd046" providerId="ADAL" clId="{9A7DD9CE-4C06-48AB-9E64-1F168ED79126}" dt="2023-07-07T14:04:34.558" v="382" actId="6549"/>
          <ac:spMkLst>
            <pc:docMk/>
            <pc:sldMk cId="1529278536" sldId="278"/>
            <ac:spMk id="3" creationId="{CE00AF81-0EBA-4662-DB3B-512DC8F1AA81}"/>
          </ac:spMkLst>
        </pc:spChg>
        <pc:extLst>
          <p:ext xmlns:p="http://schemas.openxmlformats.org/presentationml/2006/main" uri="{D6D511B9-2390-475A-947B-AFAB55BFBCF1}">
            <pc226:cmChg xmlns:pc226="http://schemas.microsoft.com/office/powerpoint/2022/06/main/command" chg="add mod">
              <pc226:chgData name="Rasmussen, Susanne" userId="0bd74171-9339-45ee-b4ef-ce827adfd046" providerId="ADAL" clId="{9A7DD9CE-4C06-48AB-9E64-1F168ED79126}" dt="2023-07-07T14:04:34.558" v="382" actId="6549"/>
              <pc2:cmMkLst xmlns:pc2="http://schemas.microsoft.com/office/powerpoint/2019/9/main/command">
                <pc:docMk/>
                <pc:sldMk cId="1529278536" sldId="278"/>
                <pc2:cmMk id="{CC5C75E6-89F2-4960-A8B0-167C582772CE}"/>
              </pc2:cmMkLst>
            </pc226:cmChg>
          </p:ext>
        </pc:extLst>
      </pc:sldChg>
      <pc:sldChg chg="modSp mod addCm modCm">
        <pc:chgData name="Rasmussen, Susanne" userId="0bd74171-9339-45ee-b4ef-ce827adfd046" providerId="ADAL" clId="{9A7DD9CE-4C06-48AB-9E64-1F168ED79126}" dt="2023-07-07T14:30:35.779" v="1201" actId="13926"/>
        <pc:sldMkLst>
          <pc:docMk/>
          <pc:sldMk cId="2346477064" sldId="296"/>
        </pc:sldMkLst>
        <pc:spChg chg="mod">
          <ac:chgData name="Rasmussen, Susanne" userId="0bd74171-9339-45ee-b4ef-ce827adfd046" providerId="ADAL" clId="{9A7DD9CE-4C06-48AB-9E64-1F168ED79126}" dt="2023-07-06T21:37:37.972" v="116" actId="14100"/>
          <ac:spMkLst>
            <pc:docMk/>
            <pc:sldMk cId="2346477064" sldId="296"/>
            <ac:spMk id="16" creationId="{8B3741B8-9816-4D55-42CA-6EFF6F5242E4}"/>
          </ac:spMkLst>
        </pc:spChg>
        <pc:spChg chg="mod">
          <ac:chgData name="Rasmussen, Susanne" userId="0bd74171-9339-45ee-b4ef-ce827adfd046" providerId="ADAL" clId="{9A7DD9CE-4C06-48AB-9E64-1F168ED79126}" dt="2023-07-07T14:30:35.779" v="1201" actId="13926"/>
          <ac:spMkLst>
            <pc:docMk/>
            <pc:sldMk cId="2346477064" sldId="296"/>
            <ac:spMk id="18" creationId="{131F2AF7-DFEE-A6A3-7AB5-0606F78CD218}"/>
          </ac:spMkLst>
        </pc:spChg>
        <pc:extLst>
          <p:ext xmlns:p="http://schemas.openxmlformats.org/presentationml/2006/main" uri="{D6D511B9-2390-475A-947B-AFAB55BFBCF1}">
            <pc226:cmChg xmlns:pc226="http://schemas.microsoft.com/office/powerpoint/2022/06/main/command" chg="add mod">
              <pc226:chgData name="Rasmussen, Susanne" userId="0bd74171-9339-45ee-b4ef-ce827adfd046" providerId="ADAL" clId="{9A7DD9CE-4C06-48AB-9E64-1F168ED79126}" dt="2023-07-06T21:39:16.043" v="176" actId="20577"/>
              <pc2:cmMkLst xmlns:pc2="http://schemas.microsoft.com/office/powerpoint/2019/9/main/command">
                <pc:docMk/>
                <pc:sldMk cId="2346477064" sldId="296"/>
                <pc2:cmMk id="{05EFD7A6-C967-4A80-B709-16A98EBF4F0F}"/>
              </pc2:cmMkLst>
            </pc226:cmChg>
          </p:ext>
        </pc:extLst>
      </pc:sldChg>
      <pc:sldChg chg="modSp mod">
        <pc:chgData name="Rasmussen, Susanne" userId="0bd74171-9339-45ee-b4ef-ce827adfd046" providerId="ADAL" clId="{9A7DD9CE-4C06-48AB-9E64-1F168ED79126}" dt="2023-07-10T20:19:37.142" v="2166" actId="1076"/>
        <pc:sldMkLst>
          <pc:docMk/>
          <pc:sldMk cId="3259736002" sldId="297"/>
        </pc:sldMkLst>
        <pc:spChg chg="mod">
          <ac:chgData name="Rasmussen, Susanne" userId="0bd74171-9339-45ee-b4ef-ce827adfd046" providerId="ADAL" clId="{9A7DD9CE-4C06-48AB-9E64-1F168ED79126}" dt="2023-07-06T21:41:20.414" v="248" actId="27636"/>
          <ac:spMkLst>
            <pc:docMk/>
            <pc:sldMk cId="3259736002" sldId="297"/>
            <ac:spMk id="3" creationId="{06AC962A-FABE-4F14-91E7-A91AD417ADFF}"/>
          </ac:spMkLst>
        </pc:spChg>
        <pc:spChg chg="mod">
          <ac:chgData name="Rasmussen, Susanne" userId="0bd74171-9339-45ee-b4ef-ce827adfd046" providerId="ADAL" clId="{9A7DD9CE-4C06-48AB-9E64-1F168ED79126}" dt="2023-07-10T20:19:37.142" v="2166" actId="1076"/>
          <ac:spMkLst>
            <pc:docMk/>
            <pc:sldMk cId="3259736002" sldId="297"/>
            <ac:spMk id="6" creationId="{0038D609-7001-4947-92BB-A379E0414168}"/>
          </ac:spMkLst>
        </pc:spChg>
      </pc:sldChg>
      <pc:sldChg chg="modSp mod">
        <pc:chgData name="Rasmussen, Susanne" userId="0bd74171-9339-45ee-b4ef-ce827adfd046" providerId="ADAL" clId="{9A7DD9CE-4C06-48AB-9E64-1F168ED79126}" dt="2023-07-10T20:23:48.092" v="2228" actId="20577"/>
        <pc:sldMkLst>
          <pc:docMk/>
          <pc:sldMk cId="343359655" sldId="300"/>
        </pc:sldMkLst>
        <pc:spChg chg="mod">
          <ac:chgData name="Rasmussen, Susanne" userId="0bd74171-9339-45ee-b4ef-ce827adfd046" providerId="ADAL" clId="{9A7DD9CE-4C06-48AB-9E64-1F168ED79126}" dt="2023-07-10T20:23:48.092" v="2228" actId="20577"/>
          <ac:spMkLst>
            <pc:docMk/>
            <pc:sldMk cId="343359655" sldId="300"/>
            <ac:spMk id="3" creationId="{06AC962A-FABE-4F14-91E7-A91AD417ADFF}"/>
          </ac:spMkLst>
        </pc:spChg>
      </pc:sldChg>
      <pc:sldChg chg="modSp mod addCm">
        <pc:chgData name="Rasmussen, Susanne" userId="0bd74171-9339-45ee-b4ef-ce827adfd046" providerId="ADAL" clId="{9A7DD9CE-4C06-48AB-9E64-1F168ED79126}" dt="2023-07-07T15:00:33.482" v="1923"/>
        <pc:sldMkLst>
          <pc:docMk/>
          <pc:sldMk cId="813981643" sldId="301"/>
        </pc:sldMkLst>
        <pc:spChg chg="mod">
          <ac:chgData name="Rasmussen, Susanne" userId="0bd74171-9339-45ee-b4ef-ce827adfd046" providerId="ADAL" clId="{9A7DD9CE-4C06-48AB-9E64-1F168ED79126}" dt="2023-07-07T14:33:00.280" v="1314" actId="6549"/>
          <ac:spMkLst>
            <pc:docMk/>
            <pc:sldMk cId="813981643" sldId="301"/>
            <ac:spMk id="3" creationId="{06AC962A-FABE-4F14-91E7-A91AD417ADFF}"/>
          </ac:spMkLst>
        </pc:spChg>
        <pc:extLst>
          <p:ext xmlns:p="http://schemas.openxmlformats.org/presentationml/2006/main" uri="{D6D511B9-2390-475A-947B-AFAB55BFBCF1}">
            <pc226:cmChg xmlns:pc226="http://schemas.microsoft.com/office/powerpoint/2022/06/main/command" chg="add">
              <pc226:chgData name="Rasmussen, Susanne" userId="0bd74171-9339-45ee-b4ef-ce827adfd046" providerId="ADAL" clId="{9A7DD9CE-4C06-48AB-9E64-1F168ED79126}" dt="2023-07-07T15:00:33.482" v="1923"/>
              <pc2:cmMkLst xmlns:pc2="http://schemas.microsoft.com/office/powerpoint/2019/9/main/command">
                <pc:docMk/>
                <pc:sldMk cId="813981643" sldId="301"/>
                <pc2:cmMk id="{2524FC28-B0DE-4EBD-B50F-DFD147B4412B}"/>
              </pc2:cmMkLst>
            </pc226:cmChg>
          </p:ext>
        </pc:extLst>
      </pc:sldChg>
      <pc:sldChg chg="modSp mod">
        <pc:chgData name="Rasmussen, Susanne" userId="0bd74171-9339-45ee-b4ef-ce827adfd046" providerId="ADAL" clId="{9A7DD9CE-4C06-48AB-9E64-1F168ED79126}" dt="2023-07-07T14:55:16.131" v="1756" actId="15"/>
        <pc:sldMkLst>
          <pc:docMk/>
          <pc:sldMk cId="780403188" sldId="302"/>
        </pc:sldMkLst>
        <pc:spChg chg="mod">
          <ac:chgData name="Rasmussen, Susanne" userId="0bd74171-9339-45ee-b4ef-ce827adfd046" providerId="ADAL" clId="{9A7DD9CE-4C06-48AB-9E64-1F168ED79126}" dt="2023-07-07T14:55:16.131" v="1756" actId="15"/>
          <ac:spMkLst>
            <pc:docMk/>
            <pc:sldMk cId="780403188" sldId="302"/>
            <ac:spMk id="3" creationId="{06AC962A-FABE-4F14-91E7-A91AD417ADFF}"/>
          </ac:spMkLst>
        </pc:spChg>
      </pc:sldChg>
      <pc:sldChg chg="modSp mod ord">
        <pc:chgData name="Rasmussen, Susanne" userId="0bd74171-9339-45ee-b4ef-ce827adfd046" providerId="ADAL" clId="{9A7DD9CE-4C06-48AB-9E64-1F168ED79126}" dt="2023-07-10T20:03:48.596" v="2148"/>
        <pc:sldMkLst>
          <pc:docMk/>
          <pc:sldMk cId="1650613911" sldId="303"/>
        </pc:sldMkLst>
        <pc:spChg chg="mod">
          <ac:chgData name="Rasmussen, Susanne" userId="0bd74171-9339-45ee-b4ef-ce827adfd046" providerId="ADAL" clId="{9A7DD9CE-4C06-48AB-9E64-1F168ED79126}" dt="2023-07-07T14:58:23.121" v="1921" actId="6549"/>
          <ac:spMkLst>
            <pc:docMk/>
            <pc:sldMk cId="1650613911" sldId="303"/>
            <ac:spMk id="11" creationId="{80375151-8B20-3D8C-FEBF-EF4330089FFA}"/>
          </ac:spMkLst>
        </pc:spChg>
        <pc:graphicFrameChg chg="mod">
          <ac:chgData name="Rasmussen, Susanne" userId="0bd74171-9339-45ee-b4ef-ce827adfd046" providerId="ADAL" clId="{9A7DD9CE-4C06-48AB-9E64-1F168ED79126}" dt="2023-07-10T20:03:48.596" v="2148"/>
          <ac:graphicFrameMkLst>
            <pc:docMk/>
            <pc:sldMk cId="1650613911" sldId="303"/>
            <ac:graphicFrameMk id="3" creationId="{4D729383-A3E2-ABBC-94AE-375541A950E8}"/>
          </ac:graphicFrameMkLst>
        </pc:graphicFrameChg>
      </pc:sldChg>
      <pc:sldChg chg="modSp mod">
        <pc:chgData name="Rasmussen, Susanne" userId="0bd74171-9339-45ee-b4ef-ce827adfd046" providerId="ADAL" clId="{9A7DD9CE-4C06-48AB-9E64-1F168ED79126}" dt="2023-07-07T14:25:21.019" v="1181" actId="113"/>
        <pc:sldMkLst>
          <pc:docMk/>
          <pc:sldMk cId="1054884385" sldId="304"/>
        </pc:sldMkLst>
        <pc:spChg chg="mod">
          <ac:chgData name="Rasmussen, Susanne" userId="0bd74171-9339-45ee-b4ef-ce827adfd046" providerId="ADAL" clId="{9A7DD9CE-4C06-48AB-9E64-1F168ED79126}" dt="2023-07-07T14:25:21.019" v="1181" actId="113"/>
          <ac:spMkLst>
            <pc:docMk/>
            <pc:sldMk cId="1054884385" sldId="304"/>
            <ac:spMk id="4" creationId="{DC0520D7-75CC-508B-69FB-965CE40BDC11}"/>
          </ac:spMkLst>
        </pc:spChg>
      </pc:sldChg>
      <pc:sldChg chg="modSp add del mod">
        <pc:chgData name="Rasmussen, Susanne" userId="0bd74171-9339-45ee-b4ef-ce827adfd046" providerId="ADAL" clId="{9A7DD9CE-4C06-48AB-9E64-1F168ED79126}" dt="2023-07-10T20:14:36.741" v="2153" actId="20577"/>
        <pc:sldMkLst>
          <pc:docMk/>
          <pc:sldMk cId="156447753" sldId="305"/>
        </pc:sldMkLst>
        <pc:spChg chg="mod">
          <ac:chgData name="Rasmussen, Susanne" userId="0bd74171-9339-45ee-b4ef-ce827adfd046" providerId="ADAL" clId="{9A7DD9CE-4C06-48AB-9E64-1F168ED79126}" dt="2023-07-10T20:14:36.741" v="2153" actId="20577"/>
          <ac:spMkLst>
            <pc:docMk/>
            <pc:sldMk cId="156447753" sldId="305"/>
            <ac:spMk id="2" creationId="{71ECDFDF-B56B-4C43-BBBF-D35CEE5E475F}"/>
          </ac:spMkLst>
        </pc:spChg>
      </pc:sldChg>
      <pc:sldChg chg="modSp mod">
        <pc:chgData name="Rasmussen, Susanne" userId="0bd74171-9339-45ee-b4ef-ce827adfd046" providerId="ADAL" clId="{9A7DD9CE-4C06-48AB-9E64-1F168ED79126}" dt="2023-07-07T14:58:56.967" v="1922" actId="113"/>
        <pc:sldMkLst>
          <pc:docMk/>
          <pc:sldMk cId="2315025724" sldId="306"/>
        </pc:sldMkLst>
        <pc:spChg chg="mod">
          <ac:chgData name="Rasmussen, Susanne" userId="0bd74171-9339-45ee-b4ef-ce827adfd046" providerId="ADAL" clId="{9A7DD9CE-4C06-48AB-9E64-1F168ED79126}" dt="2023-07-07T14:58:56.967" v="1922" actId="113"/>
          <ac:spMkLst>
            <pc:docMk/>
            <pc:sldMk cId="2315025724" sldId="306"/>
            <ac:spMk id="4" creationId="{8990CD60-0CD7-30BE-F23E-6D1FBD124C0E}"/>
          </ac:spMkLst>
        </pc:spChg>
        <pc:picChg chg="mod">
          <ac:chgData name="Rasmussen, Susanne" userId="0bd74171-9339-45ee-b4ef-ce827adfd046" providerId="ADAL" clId="{9A7DD9CE-4C06-48AB-9E64-1F168ED79126}" dt="2023-07-07T14:26:33.705" v="1187" actId="1076"/>
          <ac:picMkLst>
            <pc:docMk/>
            <pc:sldMk cId="2315025724" sldId="306"/>
            <ac:picMk id="50" creationId="{A1F8D0D6-16E7-918C-6278-B9522CE6D9E9}"/>
          </ac:picMkLst>
        </pc:picChg>
      </pc:sldChg>
      <pc:sldChg chg="modSp mod">
        <pc:chgData name="Rasmussen, Susanne" userId="0bd74171-9339-45ee-b4ef-ce827adfd046" providerId="ADAL" clId="{9A7DD9CE-4C06-48AB-9E64-1F168ED79126}" dt="2023-07-06T21:36:01.542" v="114" actId="14100"/>
        <pc:sldMkLst>
          <pc:docMk/>
          <pc:sldMk cId="1936964873" sldId="307"/>
        </pc:sldMkLst>
        <pc:spChg chg="mod">
          <ac:chgData name="Rasmussen, Susanne" userId="0bd74171-9339-45ee-b4ef-ce827adfd046" providerId="ADAL" clId="{9A7DD9CE-4C06-48AB-9E64-1F168ED79126}" dt="2023-07-06T21:36:01.542" v="114" actId="14100"/>
          <ac:spMkLst>
            <pc:docMk/>
            <pc:sldMk cId="1936964873" sldId="307"/>
            <ac:spMk id="2" creationId="{71ECDFDF-B56B-4C43-BBBF-D35CEE5E475F}"/>
          </ac:spMkLst>
        </pc:spChg>
      </pc:sldChg>
      <pc:sldChg chg="modSp mod">
        <pc:chgData name="Rasmussen, Susanne" userId="0bd74171-9339-45ee-b4ef-ce827adfd046" providerId="ADAL" clId="{9A7DD9CE-4C06-48AB-9E64-1F168ED79126}" dt="2023-07-07T14:30:14.929" v="1200" actId="20577"/>
        <pc:sldMkLst>
          <pc:docMk/>
          <pc:sldMk cId="2338493111" sldId="308"/>
        </pc:sldMkLst>
        <pc:spChg chg="mod">
          <ac:chgData name="Rasmussen, Susanne" userId="0bd74171-9339-45ee-b4ef-ce827adfd046" providerId="ADAL" clId="{9A7DD9CE-4C06-48AB-9E64-1F168ED79126}" dt="2023-07-06T21:36:28.090" v="115" actId="14100"/>
          <ac:spMkLst>
            <pc:docMk/>
            <pc:sldMk cId="2338493111" sldId="308"/>
            <ac:spMk id="2" creationId="{71ECDFDF-B56B-4C43-BBBF-D35CEE5E475F}"/>
          </ac:spMkLst>
        </pc:spChg>
        <pc:spChg chg="mod">
          <ac:chgData name="Rasmussen, Susanne" userId="0bd74171-9339-45ee-b4ef-ce827adfd046" providerId="ADAL" clId="{9A7DD9CE-4C06-48AB-9E64-1F168ED79126}" dt="2023-07-07T14:30:14.929" v="1200" actId="20577"/>
          <ac:spMkLst>
            <pc:docMk/>
            <pc:sldMk cId="2338493111" sldId="308"/>
            <ac:spMk id="3" creationId="{06AC962A-FABE-4F14-91E7-A91AD417ADFF}"/>
          </ac:spMkLst>
        </pc:spChg>
      </pc:sldChg>
      <pc:sldChg chg="addSp delSp modSp new del mod setBg modClrScheme chgLayout">
        <pc:chgData name="Rasmussen, Susanne" userId="0bd74171-9339-45ee-b4ef-ce827adfd046" providerId="ADAL" clId="{9A7DD9CE-4C06-48AB-9E64-1F168ED79126}" dt="2023-07-06T19:57:59.865" v="60" actId="47"/>
        <pc:sldMkLst>
          <pc:docMk/>
          <pc:sldMk cId="423623425" sldId="309"/>
        </pc:sldMkLst>
        <pc:spChg chg="del mod">
          <ac:chgData name="Rasmussen, Susanne" userId="0bd74171-9339-45ee-b4ef-ce827adfd046" providerId="ADAL" clId="{9A7DD9CE-4C06-48AB-9E64-1F168ED79126}" dt="2023-07-06T19:49:04.100" v="9" actId="700"/>
          <ac:spMkLst>
            <pc:docMk/>
            <pc:sldMk cId="423623425" sldId="309"/>
            <ac:spMk id="2" creationId="{7345F0FA-9671-2615-2FFB-9AA17315AB23}"/>
          </ac:spMkLst>
        </pc:spChg>
        <pc:spChg chg="del mod">
          <ac:chgData name="Rasmussen, Susanne" userId="0bd74171-9339-45ee-b4ef-ce827adfd046" providerId="ADAL" clId="{9A7DD9CE-4C06-48AB-9E64-1F168ED79126}" dt="2023-07-06T19:49:04.100" v="9" actId="700"/>
          <ac:spMkLst>
            <pc:docMk/>
            <pc:sldMk cId="423623425" sldId="309"/>
            <ac:spMk id="3" creationId="{DD80122B-42DC-A435-94F5-23EE9C5D66C9}"/>
          </ac:spMkLst>
        </pc:spChg>
        <pc:spChg chg="del mod ord">
          <ac:chgData name="Rasmussen, Susanne" userId="0bd74171-9339-45ee-b4ef-ce827adfd046" providerId="ADAL" clId="{9A7DD9CE-4C06-48AB-9E64-1F168ED79126}" dt="2023-07-06T19:49:16.382" v="10" actId="21"/>
          <ac:spMkLst>
            <pc:docMk/>
            <pc:sldMk cId="423623425" sldId="309"/>
            <ac:spMk id="4" creationId="{716B7422-A3A6-9628-79DE-219B04C77CC8}"/>
          </ac:spMkLst>
        </pc:spChg>
        <pc:spChg chg="add mod">
          <ac:chgData name="Rasmussen, Susanne" userId="0bd74171-9339-45ee-b4ef-ce827adfd046" providerId="ADAL" clId="{9A7DD9CE-4C06-48AB-9E64-1F168ED79126}" dt="2023-07-06T19:49:49.808" v="56" actId="20577"/>
          <ac:spMkLst>
            <pc:docMk/>
            <pc:sldMk cId="423623425" sldId="309"/>
            <ac:spMk id="6" creationId="{51E00123-ED21-B6A3-DFB3-3751FB2CCFB4}"/>
          </ac:spMkLst>
        </pc:spChg>
        <pc:spChg chg="add del">
          <ac:chgData name="Rasmussen, Susanne" userId="0bd74171-9339-45ee-b4ef-ce827adfd046" providerId="ADAL" clId="{9A7DD9CE-4C06-48AB-9E64-1F168ED79126}" dt="2023-07-06T19:48:51.485" v="5" actId="26606"/>
          <ac:spMkLst>
            <pc:docMk/>
            <pc:sldMk cId="423623425" sldId="309"/>
            <ac:spMk id="10" creationId="{1A95671B-3CC6-4792-9114-B74FAEA224E6}"/>
          </ac:spMkLst>
        </pc:spChg>
        <pc:spChg chg="add del">
          <ac:chgData name="Rasmussen, Susanne" userId="0bd74171-9339-45ee-b4ef-ce827adfd046" providerId="ADAL" clId="{9A7DD9CE-4C06-48AB-9E64-1F168ED79126}" dt="2023-07-06T19:48:57.630" v="7" actId="26606"/>
          <ac:spMkLst>
            <pc:docMk/>
            <pc:sldMk cId="423623425" sldId="309"/>
            <ac:spMk id="12" creationId="{2E92FA66-67D7-4CB4-94D3-E643A9AD4757}"/>
          </ac:spMkLst>
        </pc:spChg>
        <pc:spChg chg="add del">
          <ac:chgData name="Rasmussen, Susanne" userId="0bd74171-9339-45ee-b4ef-ce827adfd046" providerId="ADAL" clId="{9A7DD9CE-4C06-48AB-9E64-1F168ED79126}" dt="2023-07-06T19:48:57.630" v="7" actId="26606"/>
          <ac:spMkLst>
            <pc:docMk/>
            <pc:sldMk cId="423623425" sldId="309"/>
            <ac:spMk id="13" creationId="{32AEEBC8-9D30-42EF-95F2-386C2653FBF0}"/>
          </ac:spMkLst>
        </pc:spChg>
        <pc:picChg chg="add del mod">
          <ac:chgData name="Rasmussen, Susanne" userId="0bd74171-9339-45ee-b4ef-ce827adfd046" providerId="ADAL" clId="{9A7DD9CE-4C06-48AB-9E64-1F168ED79126}" dt="2023-07-06T19:48:58.317" v="8"/>
          <ac:picMkLst>
            <pc:docMk/>
            <pc:sldMk cId="423623425" sldId="309"/>
            <ac:picMk id="5" creationId="{C39D09ED-4913-A157-396B-4AB9D3E1B337}"/>
          </ac:picMkLst>
        </pc:picChg>
      </pc:sldChg>
      <pc:sldChg chg="addSp delSp modSp add del mod addCm delCm modCm">
        <pc:chgData name="Rasmussen, Susanne" userId="0bd74171-9339-45ee-b4ef-ce827adfd046" providerId="ADAL" clId="{9A7DD9CE-4C06-48AB-9E64-1F168ED79126}" dt="2023-07-10T19:45:58.431" v="1983" actId="1076"/>
        <pc:sldMkLst>
          <pc:docMk/>
          <pc:sldMk cId="1963271544" sldId="1132"/>
        </pc:sldMkLst>
        <pc:spChg chg="mod">
          <ac:chgData name="Rasmussen, Susanne" userId="0bd74171-9339-45ee-b4ef-ce827adfd046" providerId="ADAL" clId="{9A7DD9CE-4C06-48AB-9E64-1F168ED79126}" dt="2023-07-10T19:45:18.125" v="1978" actId="20577"/>
          <ac:spMkLst>
            <pc:docMk/>
            <pc:sldMk cId="1963271544" sldId="1132"/>
            <ac:spMk id="2" creationId="{5B1EE775-0DD9-9523-89D7-58F9EA9BC236}"/>
          </ac:spMkLst>
        </pc:spChg>
        <pc:spChg chg="del">
          <ac:chgData name="Rasmussen, Susanne" userId="0bd74171-9339-45ee-b4ef-ce827adfd046" providerId="ADAL" clId="{9A7DD9CE-4C06-48AB-9E64-1F168ED79126}" dt="2023-07-07T13:54:58.938" v="273" actId="478"/>
          <ac:spMkLst>
            <pc:docMk/>
            <pc:sldMk cId="1963271544" sldId="1132"/>
            <ac:spMk id="2" creationId="{BBDA4065-88E1-CB35-2B13-48FB8543E0E4}"/>
          </ac:spMkLst>
        </pc:spChg>
        <pc:spChg chg="mod">
          <ac:chgData name="Rasmussen, Susanne" userId="0bd74171-9339-45ee-b4ef-ce827adfd046" providerId="ADAL" clId="{9A7DD9CE-4C06-48AB-9E64-1F168ED79126}" dt="2023-07-07T13:56:32.658" v="299" actId="20577"/>
          <ac:spMkLst>
            <pc:docMk/>
            <pc:sldMk cId="1963271544" sldId="1132"/>
            <ac:spMk id="3" creationId="{5759D7FB-62D6-BB6F-C5C9-3B1CCCF65691}"/>
          </ac:spMkLst>
        </pc:spChg>
        <pc:spChg chg="add del mod">
          <ac:chgData name="Rasmussen, Susanne" userId="0bd74171-9339-45ee-b4ef-ce827adfd046" providerId="ADAL" clId="{9A7DD9CE-4C06-48AB-9E64-1F168ED79126}" dt="2023-07-07T14:54:39.161" v="1752" actId="478"/>
          <ac:spMkLst>
            <pc:docMk/>
            <pc:sldMk cId="1963271544" sldId="1132"/>
            <ac:spMk id="4" creationId="{670C3D09-07E7-B241-89DC-3F3804B5FEF1}"/>
          </ac:spMkLst>
        </pc:spChg>
        <pc:spChg chg="mod">
          <ac:chgData name="Rasmussen, Susanne" userId="0bd74171-9339-45ee-b4ef-ce827adfd046" providerId="ADAL" clId="{9A7DD9CE-4C06-48AB-9E64-1F168ED79126}" dt="2023-07-07T14:00:54.023" v="372" actId="255"/>
          <ac:spMkLst>
            <pc:docMk/>
            <pc:sldMk cId="1963271544" sldId="1132"/>
            <ac:spMk id="5" creationId="{D8AC20E5-DC45-4CD6-B89A-B6A38FF880E8}"/>
          </ac:spMkLst>
        </pc:spChg>
        <pc:spChg chg="mod">
          <ac:chgData name="Rasmussen, Susanne" userId="0bd74171-9339-45ee-b4ef-ce827adfd046" providerId="ADAL" clId="{9A7DD9CE-4C06-48AB-9E64-1F168ED79126}" dt="2023-07-10T19:45:58.431" v="1983" actId="1076"/>
          <ac:spMkLst>
            <pc:docMk/>
            <pc:sldMk cId="1963271544" sldId="1132"/>
            <ac:spMk id="26" creationId="{07CE0FFF-B88F-4BF6-A69A-2F7EF781B2CD}"/>
          </ac:spMkLst>
        </pc:spChg>
        <pc:spChg chg="mod">
          <ac:chgData name="Rasmussen, Susanne" userId="0bd74171-9339-45ee-b4ef-ce827adfd046" providerId="ADAL" clId="{9A7DD9CE-4C06-48AB-9E64-1F168ED79126}" dt="2023-07-10T19:45:27.536" v="1979" actId="14100"/>
          <ac:spMkLst>
            <pc:docMk/>
            <pc:sldMk cId="1963271544" sldId="1132"/>
            <ac:spMk id="31" creationId="{303B9770-7DE8-9A95-C80B-6C4BC1773EAF}"/>
          </ac:spMkLst>
        </pc:spChg>
        <pc:spChg chg="del mod">
          <ac:chgData name="Rasmussen, Susanne" userId="0bd74171-9339-45ee-b4ef-ce827adfd046" providerId="ADAL" clId="{9A7DD9CE-4C06-48AB-9E64-1F168ED79126}" dt="2023-07-07T13:56:43.936" v="304"/>
          <ac:spMkLst>
            <pc:docMk/>
            <pc:sldMk cId="1963271544" sldId="1132"/>
            <ac:spMk id="33" creationId="{1F475A43-2268-E230-5BE5-E632D789BBF4}"/>
          </ac:spMkLst>
        </pc:spChg>
        <pc:spChg chg="del">
          <ac:chgData name="Rasmussen, Susanne" userId="0bd74171-9339-45ee-b4ef-ce827adfd046" providerId="ADAL" clId="{9A7DD9CE-4C06-48AB-9E64-1F168ED79126}" dt="2023-07-07T13:54:49.578" v="272" actId="478"/>
          <ac:spMkLst>
            <pc:docMk/>
            <pc:sldMk cId="1963271544" sldId="1132"/>
            <ac:spMk id="34" creationId="{9DA36592-C8CB-6F68-4698-6622C2B1FFAC}"/>
          </ac:spMkLst>
        </pc:spChg>
        <pc:spChg chg="mod">
          <ac:chgData name="Rasmussen, Susanne" userId="0bd74171-9339-45ee-b4ef-ce827adfd046" providerId="ADAL" clId="{9A7DD9CE-4C06-48AB-9E64-1F168ED79126}" dt="2023-07-07T13:57:37.803" v="349" actId="1076"/>
          <ac:spMkLst>
            <pc:docMk/>
            <pc:sldMk cId="1963271544" sldId="1132"/>
            <ac:spMk id="36" creationId="{6FB8B396-EED3-716E-D977-D502528D3820}"/>
          </ac:spMkLst>
        </pc:spChg>
        <pc:spChg chg="del mod">
          <ac:chgData name="Rasmussen, Susanne" userId="0bd74171-9339-45ee-b4ef-ce827adfd046" providerId="ADAL" clId="{9A7DD9CE-4C06-48AB-9E64-1F168ED79126}" dt="2023-07-07T13:56:43.933" v="302" actId="478"/>
          <ac:spMkLst>
            <pc:docMk/>
            <pc:sldMk cId="1963271544" sldId="1132"/>
            <ac:spMk id="37" creationId="{0ABA9CF4-B889-EF54-9B25-A0E620A313BB}"/>
          </ac:spMkLst>
        </pc:spChg>
        <pc:spChg chg="del">
          <ac:chgData name="Rasmussen, Susanne" userId="0bd74171-9339-45ee-b4ef-ce827adfd046" providerId="ADAL" clId="{9A7DD9CE-4C06-48AB-9E64-1F168ED79126}" dt="2023-07-07T13:56:49.698" v="305" actId="478"/>
          <ac:spMkLst>
            <pc:docMk/>
            <pc:sldMk cId="1963271544" sldId="1132"/>
            <ac:spMk id="38" creationId="{1FC56601-DDBB-6B00-5935-D6880BDC64F4}"/>
          </ac:spMkLst>
        </pc:spChg>
        <pc:spChg chg="del">
          <ac:chgData name="Rasmussen, Susanne" userId="0bd74171-9339-45ee-b4ef-ce827adfd046" providerId="ADAL" clId="{9A7DD9CE-4C06-48AB-9E64-1F168ED79126}" dt="2023-07-07T13:56:52.873" v="306" actId="478"/>
          <ac:spMkLst>
            <pc:docMk/>
            <pc:sldMk cId="1963271544" sldId="1132"/>
            <ac:spMk id="39" creationId="{26875C22-5238-98F0-EAAA-97CC34537A61}"/>
          </ac:spMkLst>
        </pc:spChg>
        <pc:spChg chg="mod">
          <ac:chgData name="Rasmussen, Susanne" userId="0bd74171-9339-45ee-b4ef-ce827adfd046" providerId="ADAL" clId="{9A7DD9CE-4C06-48AB-9E64-1F168ED79126}" dt="2023-07-07T13:57:05.914" v="329" actId="20577"/>
          <ac:spMkLst>
            <pc:docMk/>
            <pc:sldMk cId="1963271544" sldId="1132"/>
            <ac:spMk id="41" creationId="{704DE6C9-AC7E-1F98-3669-B39F0EE75E90}"/>
          </ac:spMkLst>
        </pc:spChg>
        <pc:spChg chg="mod">
          <ac:chgData name="Rasmussen, Susanne" userId="0bd74171-9339-45ee-b4ef-ce827adfd046" providerId="ADAL" clId="{9A7DD9CE-4C06-48AB-9E64-1F168ED79126}" dt="2023-07-07T13:57:24.683" v="348" actId="20577"/>
          <ac:spMkLst>
            <pc:docMk/>
            <pc:sldMk cId="1963271544" sldId="1132"/>
            <ac:spMk id="43" creationId="{6B9F7C1F-C9E0-0271-6B62-C62315ADA57A}"/>
          </ac:spMkLst>
        </pc:spChg>
        <pc:picChg chg="del">
          <ac:chgData name="Rasmussen, Susanne" userId="0bd74171-9339-45ee-b4ef-ce827adfd046" providerId="ADAL" clId="{9A7DD9CE-4C06-48AB-9E64-1F168ED79126}" dt="2023-07-07T14:54:07.770" v="1734" actId="478"/>
          <ac:picMkLst>
            <pc:docMk/>
            <pc:sldMk cId="1963271544" sldId="1132"/>
            <ac:picMk id="29" creationId="{AC002397-621C-9D22-968A-0F8F3BECC236}"/>
          </ac:picMkLst>
        </pc:picChg>
        <pc:picChg chg="del">
          <ac:chgData name="Rasmussen, Susanne" userId="0bd74171-9339-45ee-b4ef-ce827adfd046" providerId="ADAL" clId="{9A7DD9CE-4C06-48AB-9E64-1F168ED79126}" dt="2023-07-07T13:56:05.060" v="275" actId="478"/>
          <ac:picMkLst>
            <pc:docMk/>
            <pc:sldMk cId="1963271544" sldId="1132"/>
            <ac:picMk id="40" creationId="{C43D7905-F9FB-D8C2-4013-0844646D3571}"/>
          </ac:picMkLst>
        </pc:picChg>
        <pc:picChg chg="del">
          <ac:chgData name="Rasmussen, Susanne" userId="0bd74171-9339-45ee-b4ef-ce827adfd046" providerId="ADAL" clId="{9A7DD9CE-4C06-48AB-9E64-1F168ED79126}" dt="2023-07-07T13:56:07.226" v="276" actId="478"/>
          <ac:picMkLst>
            <pc:docMk/>
            <pc:sldMk cId="1963271544" sldId="1132"/>
            <ac:picMk id="42" creationId="{442414D0-CD4B-7890-03C2-880A3199594A}"/>
          </ac:picMkLst>
        </pc:picChg>
        <pc:picChg chg="mod">
          <ac:chgData name="Rasmussen, Susanne" userId="0bd74171-9339-45ee-b4ef-ce827adfd046" providerId="ADAL" clId="{9A7DD9CE-4C06-48AB-9E64-1F168ED79126}" dt="2023-07-07T13:57:43.316" v="350" actId="1076"/>
          <ac:picMkLst>
            <pc:docMk/>
            <pc:sldMk cId="1963271544" sldId="1132"/>
            <ac:picMk id="44" creationId="{1D84CAB1-A4FA-DFEC-E329-9F6B4A370D2B}"/>
          </ac:picMkLst>
        </pc:picChg>
        <pc:picChg chg="del">
          <ac:chgData name="Rasmussen, Susanne" userId="0bd74171-9339-45ee-b4ef-ce827adfd046" providerId="ADAL" clId="{9A7DD9CE-4C06-48AB-9E64-1F168ED79126}" dt="2023-07-07T13:56:10.715" v="277" actId="478"/>
          <ac:picMkLst>
            <pc:docMk/>
            <pc:sldMk cId="1963271544" sldId="1132"/>
            <ac:picMk id="1026" creationId="{73855049-45F5-7C24-3812-47BA5445E916}"/>
          </ac:picMkLst>
        </pc:picChg>
        <pc:extLst>
          <p:ext xmlns:p="http://schemas.openxmlformats.org/presentationml/2006/main" uri="{D6D511B9-2390-475A-947B-AFAB55BFBCF1}">
            <pc226:cmChg xmlns:pc226="http://schemas.microsoft.com/office/powerpoint/2022/06/main/command" chg="add del mod">
              <pc226:chgData name="Rasmussen, Susanne" userId="0bd74171-9339-45ee-b4ef-ce827adfd046" providerId="ADAL" clId="{9A7DD9CE-4C06-48AB-9E64-1F168ED79126}" dt="2023-07-10T13:49:21.662" v="1946"/>
              <pc2:cmMkLst xmlns:pc2="http://schemas.microsoft.com/office/powerpoint/2019/9/main/command">
                <pc:docMk/>
                <pc:sldMk cId="1963271544" sldId="1132"/>
                <pc2:cmMk id="{69E4B366-BD72-4D1B-9B07-3B5D0AF1E6B5}"/>
              </pc2:cmMkLst>
            </pc226:cmChg>
            <pc226:cmChg xmlns:pc226="http://schemas.microsoft.com/office/powerpoint/2022/06/main/command" chg="add">
              <pc226:chgData name="Rasmussen, Susanne" userId="0bd74171-9339-45ee-b4ef-ce827adfd046" providerId="ADAL" clId="{9A7DD9CE-4C06-48AB-9E64-1F168ED79126}" dt="2023-07-07T14:54:58.744" v="1753"/>
              <pc2:cmMkLst xmlns:pc2="http://schemas.microsoft.com/office/powerpoint/2019/9/main/command">
                <pc:docMk/>
                <pc:sldMk cId="1963271544" sldId="1132"/>
                <pc2:cmMk id="{A13E80A7-6CFD-46C4-82A0-FE38D3E55361}"/>
              </pc2:cmMkLst>
            </pc226:cmChg>
          </p:ext>
        </pc:extLst>
      </pc:sldChg>
      <pc:sldChg chg="modSp add mod addCm modCm">
        <pc:chgData name="Rasmussen, Susanne" userId="0bd74171-9339-45ee-b4ef-ce827adfd046" providerId="ADAL" clId="{9A7DD9CE-4C06-48AB-9E64-1F168ED79126}" dt="2023-07-10T19:47:07.839" v="1988" actId="1076"/>
        <pc:sldMkLst>
          <pc:docMk/>
          <pc:sldMk cId="3474700355" sldId="1958"/>
        </pc:sldMkLst>
        <pc:spChg chg="mod">
          <ac:chgData name="Rasmussen, Susanne" userId="0bd74171-9339-45ee-b4ef-ce827adfd046" providerId="ADAL" clId="{9A7DD9CE-4C06-48AB-9E64-1F168ED79126}" dt="2023-07-06T19:58:40.762" v="113" actId="255"/>
          <ac:spMkLst>
            <pc:docMk/>
            <pc:sldMk cId="3474700355" sldId="1958"/>
            <ac:spMk id="3" creationId="{00000000-0000-0000-0000-000000000000}"/>
          </ac:spMkLst>
        </pc:spChg>
        <pc:spChg chg="mod">
          <ac:chgData name="Rasmussen, Susanne" userId="0bd74171-9339-45ee-b4ef-ce827adfd046" providerId="ADAL" clId="{9A7DD9CE-4C06-48AB-9E64-1F168ED79126}" dt="2023-07-10T19:47:07.839" v="1988" actId="1076"/>
          <ac:spMkLst>
            <pc:docMk/>
            <pc:sldMk cId="3474700355" sldId="1958"/>
            <ac:spMk id="14" creationId="{9C52EBCC-05CF-19D1-CA36-2D2D0F98314B}"/>
          </ac:spMkLst>
        </pc:spChg>
        <pc:extLst>
          <p:ext xmlns:p="http://schemas.openxmlformats.org/presentationml/2006/main" uri="{D6D511B9-2390-475A-947B-AFAB55BFBCF1}">
            <pc226:cmChg xmlns:pc226="http://schemas.microsoft.com/office/powerpoint/2022/06/main/command" chg="add mod">
              <pc226:chgData name="Rasmussen, Susanne" userId="0bd74171-9339-45ee-b4ef-ce827adfd046" providerId="ADAL" clId="{9A7DD9CE-4C06-48AB-9E64-1F168ED79126}" dt="2023-07-10T16:07:21.221" v="1948" actId="2056"/>
              <pc2:cmMkLst xmlns:pc2="http://schemas.microsoft.com/office/powerpoint/2019/9/main/command">
                <pc:docMk/>
                <pc:sldMk cId="3474700355" sldId="1958"/>
                <pc2:cmMk id="{033F00EE-953C-4860-A001-328382969B86}"/>
              </pc2:cmMkLst>
            </pc226:cmChg>
          </p:ext>
        </pc:extLst>
      </pc:sldChg>
      <pc:sldChg chg="new del">
        <pc:chgData name="Rasmussen, Susanne" userId="0bd74171-9339-45ee-b4ef-ce827adfd046" providerId="ADAL" clId="{9A7DD9CE-4C06-48AB-9E64-1F168ED79126}" dt="2023-07-07T13:54:22.992" v="271" actId="47"/>
        <pc:sldMkLst>
          <pc:docMk/>
          <pc:sldMk cId="1053603940" sldId="1959"/>
        </pc:sldMkLst>
      </pc:sldChg>
      <pc:sldChg chg="modSp new mod ord addCm">
        <pc:chgData name="Rasmussen, Susanne" userId="0bd74171-9339-45ee-b4ef-ce827adfd046" providerId="ADAL" clId="{9A7DD9CE-4C06-48AB-9E64-1F168ED79126}" dt="2023-07-07T14:22:10.800" v="948"/>
        <pc:sldMkLst>
          <pc:docMk/>
          <pc:sldMk cId="2430331712" sldId="1959"/>
        </pc:sldMkLst>
        <pc:spChg chg="mod">
          <ac:chgData name="Rasmussen, Susanne" userId="0bd74171-9339-45ee-b4ef-ce827adfd046" providerId="ADAL" clId="{9A7DD9CE-4C06-48AB-9E64-1F168ED79126}" dt="2023-07-07T14:08:18.846" v="397" actId="20577"/>
          <ac:spMkLst>
            <pc:docMk/>
            <pc:sldMk cId="2430331712" sldId="1959"/>
            <ac:spMk id="2" creationId="{EF02FA0B-7DF3-377C-E6DD-58B3DDD23032}"/>
          </ac:spMkLst>
        </pc:spChg>
        <pc:extLst>
          <p:ext xmlns:p="http://schemas.openxmlformats.org/presentationml/2006/main" uri="{D6D511B9-2390-475A-947B-AFAB55BFBCF1}">
            <pc226:cmChg xmlns:pc226="http://schemas.microsoft.com/office/powerpoint/2022/06/main/command" chg="add">
              <pc226:chgData name="Rasmussen, Susanne" userId="0bd74171-9339-45ee-b4ef-ce827adfd046" providerId="ADAL" clId="{9A7DD9CE-4C06-48AB-9E64-1F168ED79126}" dt="2023-07-07T14:22:10.800" v="948"/>
              <pc2:cmMkLst xmlns:pc2="http://schemas.microsoft.com/office/powerpoint/2019/9/main/command">
                <pc:docMk/>
                <pc:sldMk cId="2430331712" sldId="1959"/>
                <pc2:cmMk id="{B9100A68-20E0-40AE-B9E8-48E7EB1DD9F6}"/>
              </pc2:cmMkLst>
            </pc226:cmChg>
          </p:ext>
        </pc:extLst>
      </pc:sldChg>
      <pc:sldChg chg="new del">
        <pc:chgData name="Rasmussen, Susanne" userId="0bd74171-9339-45ee-b4ef-ce827adfd046" providerId="ADAL" clId="{9A7DD9CE-4C06-48AB-9E64-1F168ED79126}" dt="2023-07-07T14:04:08.472" v="379" actId="680"/>
        <pc:sldMkLst>
          <pc:docMk/>
          <pc:sldMk cId="2884284115" sldId="1959"/>
        </pc:sldMkLst>
      </pc:sldChg>
      <pc:sldChg chg="modSp new mod">
        <pc:chgData name="Rasmussen, Susanne" userId="0bd74171-9339-45ee-b4ef-ce827adfd046" providerId="ADAL" clId="{9A7DD9CE-4C06-48AB-9E64-1F168ED79126}" dt="2023-07-07T14:13:32.174" v="598" actId="20577"/>
        <pc:sldMkLst>
          <pc:docMk/>
          <pc:sldMk cId="2586051300" sldId="1960"/>
        </pc:sldMkLst>
        <pc:spChg chg="mod">
          <ac:chgData name="Rasmussen, Susanne" userId="0bd74171-9339-45ee-b4ef-ce827adfd046" providerId="ADAL" clId="{9A7DD9CE-4C06-48AB-9E64-1F168ED79126}" dt="2023-07-07T14:13:32.174" v="598" actId="20577"/>
          <ac:spMkLst>
            <pc:docMk/>
            <pc:sldMk cId="2586051300" sldId="1960"/>
            <ac:spMk id="2" creationId="{EA54E674-98BE-F547-F05C-BFA2BDCDE48C}"/>
          </ac:spMkLst>
        </pc:spChg>
      </pc:sldChg>
      <pc:sldChg chg="modSp new mod">
        <pc:chgData name="Rasmussen, Susanne" userId="0bd74171-9339-45ee-b4ef-ce827adfd046" providerId="ADAL" clId="{9A7DD9CE-4C06-48AB-9E64-1F168ED79126}" dt="2023-07-07T14:14:05.294" v="620" actId="20577"/>
        <pc:sldMkLst>
          <pc:docMk/>
          <pc:sldMk cId="215532766" sldId="1961"/>
        </pc:sldMkLst>
        <pc:spChg chg="mod">
          <ac:chgData name="Rasmussen, Susanne" userId="0bd74171-9339-45ee-b4ef-ce827adfd046" providerId="ADAL" clId="{9A7DD9CE-4C06-48AB-9E64-1F168ED79126}" dt="2023-07-07T14:14:05.294" v="620" actId="20577"/>
          <ac:spMkLst>
            <pc:docMk/>
            <pc:sldMk cId="215532766" sldId="1961"/>
            <ac:spMk id="2" creationId="{0CE8F6E8-232D-EC94-A4BD-B35E9920B880}"/>
          </ac:spMkLst>
        </pc:spChg>
      </pc:sldChg>
      <pc:sldChg chg="modSp new mod">
        <pc:chgData name="Rasmussen, Susanne" userId="0bd74171-9339-45ee-b4ef-ce827adfd046" providerId="ADAL" clId="{9A7DD9CE-4C06-48AB-9E64-1F168ED79126}" dt="2023-07-07T14:16:00.455" v="736" actId="20577"/>
        <pc:sldMkLst>
          <pc:docMk/>
          <pc:sldMk cId="3992210531" sldId="1962"/>
        </pc:sldMkLst>
        <pc:spChg chg="mod">
          <ac:chgData name="Rasmussen, Susanne" userId="0bd74171-9339-45ee-b4ef-ce827adfd046" providerId="ADAL" clId="{9A7DD9CE-4C06-48AB-9E64-1F168ED79126}" dt="2023-07-07T14:16:00.455" v="736" actId="20577"/>
          <ac:spMkLst>
            <pc:docMk/>
            <pc:sldMk cId="3992210531" sldId="1962"/>
            <ac:spMk id="2" creationId="{DE36F9E6-0A9D-439D-3475-E572CB064060}"/>
          </ac:spMkLst>
        </pc:spChg>
        <pc:spChg chg="mod">
          <ac:chgData name="Rasmussen, Susanne" userId="0bd74171-9339-45ee-b4ef-ce827adfd046" providerId="ADAL" clId="{9A7DD9CE-4C06-48AB-9E64-1F168ED79126}" dt="2023-07-07T14:15:33.949" v="710" actId="20577"/>
          <ac:spMkLst>
            <pc:docMk/>
            <pc:sldMk cId="3992210531" sldId="1962"/>
            <ac:spMk id="3" creationId="{2088BC24-1734-6419-1D44-083DDAA0362A}"/>
          </ac:spMkLst>
        </pc:spChg>
      </pc:sldChg>
      <pc:sldChg chg="modSp new mod ord">
        <pc:chgData name="Rasmussen, Susanne" userId="0bd74171-9339-45ee-b4ef-ce827adfd046" providerId="ADAL" clId="{9A7DD9CE-4C06-48AB-9E64-1F168ED79126}" dt="2023-07-07T14:53:58.780" v="1733" actId="20578"/>
        <pc:sldMkLst>
          <pc:docMk/>
          <pc:sldMk cId="4255861837" sldId="1963"/>
        </pc:sldMkLst>
        <pc:spChg chg="mod">
          <ac:chgData name="Rasmussen, Susanne" userId="0bd74171-9339-45ee-b4ef-ce827adfd046" providerId="ADAL" clId="{9A7DD9CE-4C06-48AB-9E64-1F168ED79126}" dt="2023-07-07T14:15:47.321" v="720" actId="20577"/>
          <ac:spMkLst>
            <pc:docMk/>
            <pc:sldMk cId="4255861837" sldId="1963"/>
            <ac:spMk id="2" creationId="{CC9D4750-C48F-670C-D69A-E66A407DCA40}"/>
          </ac:spMkLst>
        </pc:spChg>
      </pc:sldChg>
      <pc:sldChg chg="modSp new mod">
        <pc:chgData name="Rasmussen, Susanne" userId="0bd74171-9339-45ee-b4ef-ce827adfd046" providerId="ADAL" clId="{9A7DD9CE-4C06-48AB-9E64-1F168ED79126}" dt="2023-07-07T14:23:04.637" v="1088" actId="20577"/>
        <pc:sldMkLst>
          <pc:docMk/>
          <pc:sldMk cId="738356794" sldId="1965"/>
        </pc:sldMkLst>
        <pc:spChg chg="mod">
          <ac:chgData name="Rasmussen, Susanne" userId="0bd74171-9339-45ee-b4ef-ce827adfd046" providerId="ADAL" clId="{9A7DD9CE-4C06-48AB-9E64-1F168ED79126}" dt="2023-07-07T14:23:04.637" v="1088" actId="20577"/>
          <ac:spMkLst>
            <pc:docMk/>
            <pc:sldMk cId="738356794" sldId="1965"/>
            <ac:spMk id="2" creationId="{9C6D02C6-5C3E-B2A3-3E7C-A5EA0958B6DE}"/>
          </ac:spMkLst>
        </pc:spChg>
      </pc:sldChg>
      <pc:sldChg chg="modSp mod">
        <pc:chgData name="Rasmussen, Susanne" userId="0bd74171-9339-45ee-b4ef-ce827adfd046" providerId="ADAL" clId="{9A7DD9CE-4C06-48AB-9E64-1F168ED79126}" dt="2023-07-10T20:02:18.645" v="2146" actId="20577"/>
        <pc:sldMkLst>
          <pc:docMk/>
          <pc:sldMk cId="1389041451" sldId="1969"/>
        </pc:sldMkLst>
        <pc:spChg chg="mod">
          <ac:chgData name="Rasmussen, Susanne" userId="0bd74171-9339-45ee-b4ef-ce827adfd046" providerId="ADAL" clId="{9A7DD9CE-4C06-48AB-9E64-1F168ED79126}" dt="2023-07-10T20:02:18.645" v="2146" actId="20577"/>
          <ac:spMkLst>
            <pc:docMk/>
            <pc:sldMk cId="1389041451" sldId="1969"/>
            <ac:spMk id="11" creationId="{80375151-8B20-3D8C-FEBF-EF4330089FFA}"/>
          </ac:spMkLst>
        </pc:spChg>
      </pc:sldChg>
      <pc:sldChg chg="modSp mod">
        <pc:chgData name="Rasmussen, Susanne" userId="0bd74171-9339-45ee-b4ef-ce827adfd046" providerId="ADAL" clId="{9A7DD9CE-4C06-48AB-9E64-1F168ED79126}" dt="2023-07-10T20:26:38.510" v="2304" actId="20577"/>
        <pc:sldMkLst>
          <pc:docMk/>
          <pc:sldMk cId="472625034" sldId="1971"/>
        </pc:sldMkLst>
        <pc:spChg chg="mod">
          <ac:chgData name="Rasmussen, Susanne" userId="0bd74171-9339-45ee-b4ef-ce827adfd046" providerId="ADAL" clId="{9A7DD9CE-4C06-48AB-9E64-1F168ED79126}" dt="2023-07-10T20:26:38.510" v="2304" actId="20577"/>
          <ac:spMkLst>
            <pc:docMk/>
            <pc:sldMk cId="472625034" sldId="1971"/>
            <ac:spMk id="3" creationId="{06AC962A-FABE-4F14-91E7-A91AD417ADFF}"/>
          </ac:spMkLst>
        </pc:spChg>
      </pc:sldChg>
      <pc:sldChg chg="modSp mod">
        <pc:chgData name="Rasmussen, Susanne" userId="0bd74171-9339-45ee-b4ef-ce827adfd046" providerId="ADAL" clId="{9A7DD9CE-4C06-48AB-9E64-1F168ED79126}" dt="2023-07-10T20:17:09.913" v="2165" actId="20577"/>
        <pc:sldMkLst>
          <pc:docMk/>
          <pc:sldMk cId="1745514758" sldId="1974"/>
        </pc:sldMkLst>
        <pc:spChg chg="mod">
          <ac:chgData name="Rasmussen, Susanne" userId="0bd74171-9339-45ee-b4ef-ce827adfd046" providerId="ADAL" clId="{9A7DD9CE-4C06-48AB-9E64-1F168ED79126}" dt="2023-07-10T20:17:09.913" v="2165" actId="20577"/>
          <ac:spMkLst>
            <pc:docMk/>
            <pc:sldMk cId="1745514758" sldId="1974"/>
            <ac:spMk id="3" creationId="{06AC962A-FABE-4F14-91E7-A91AD417ADFF}"/>
          </ac:spMkLst>
        </pc:spChg>
      </pc:sldChg>
      <pc:sldChg chg="modSp mod">
        <pc:chgData name="Rasmussen, Susanne" userId="0bd74171-9339-45ee-b4ef-ce827adfd046" providerId="ADAL" clId="{9A7DD9CE-4C06-48AB-9E64-1F168ED79126}" dt="2023-07-10T20:22:43.005" v="2200" actId="115"/>
        <pc:sldMkLst>
          <pc:docMk/>
          <pc:sldMk cId="2184168918" sldId="1975"/>
        </pc:sldMkLst>
        <pc:spChg chg="mod">
          <ac:chgData name="Rasmussen, Susanne" userId="0bd74171-9339-45ee-b4ef-ce827adfd046" providerId="ADAL" clId="{9A7DD9CE-4C06-48AB-9E64-1F168ED79126}" dt="2023-07-10T20:21:38.159" v="2182" actId="20577"/>
          <ac:spMkLst>
            <pc:docMk/>
            <pc:sldMk cId="2184168918" sldId="1975"/>
            <ac:spMk id="2" creationId="{71ECDFDF-B56B-4C43-BBBF-D35CEE5E475F}"/>
          </ac:spMkLst>
        </pc:spChg>
        <pc:spChg chg="mod">
          <ac:chgData name="Rasmussen, Susanne" userId="0bd74171-9339-45ee-b4ef-ce827adfd046" providerId="ADAL" clId="{9A7DD9CE-4C06-48AB-9E64-1F168ED79126}" dt="2023-07-10T20:22:43.005" v="2200" actId="115"/>
          <ac:spMkLst>
            <pc:docMk/>
            <pc:sldMk cId="2184168918" sldId="1975"/>
            <ac:spMk id="3" creationId="{06AC962A-FABE-4F14-91E7-A91AD417ADFF}"/>
          </ac:spMkLst>
        </pc:spChg>
        <pc:spChg chg="mod">
          <ac:chgData name="Rasmussen, Susanne" userId="0bd74171-9339-45ee-b4ef-ce827adfd046" providerId="ADAL" clId="{9A7DD9CE-4C06-48AB-9E64-1F168ED79126}" dt="2023-07-10T20:21:16.574" v="2169" actId="1076"/>
          <ac:spMkLst>
            <pc:docMk/>
            <pc:sldMk cId="2184168918" sldId="1975"/>
            <ac:spMk id="6" creationId="{0038D609-7001-4947-92BB-A379E0414168}"/>
          </ac:spMkLst>
        </pc:spChg>
      </pc:sldChg>
      <pc:sldChg chg="modSp mod">
        <pc:chgData name="Rasmussen, Susanne" userId="0bd74171-9339-45ee-b4ef-ce827adfd046" providerId="ADAL" clId="{9A7DD9CE-4C06-48AB-9E64-1F168ED79126}" dt="2023-07-10T20:26:03.261" v="2299" actId="20577"/>
        <pc:sldMkLst>
          <pc:docMk/>
          <pc:sldMk cId="1562900042" sldId="1976"/>
        </pc:sldMkLst>
        <pc:spChg chg="mod">
          <ac:chgData name="Rasmussen, Susanne" userId="0bd74171-9339-45ee-b4ef-ce827adfd046" providerId="ADAL" clId="{9A7DD9CE-4C06-48AB-9E64-1F168ED79126}" dt="2023-07-10T20:26:03.261" v="2299" actId="20577"/>
          <ac:spMkLst>
            <pc:docMk/>
            <pc:sldMk cId="1562900042" sldId="1976"/>
            <ac:spMk id="2" creationId="{71ECDFDF-B56B-4C43-BBBF-D35CEE5E475F}"/>
          </ac:spMkLst>
        </pc:spChg>
        <pc:spChg chg="mod">
          <ac:chgData name="Rasmussen, Susanne" userId="0bd74171-9339-45ee-b4ef-ce827adfd046" providerId="ADAL" clId="{9A7DD9CE-4C06-48AB-9E64-1F168ED79126}" dt="2023-07-10T20:25:11.008" v="2287" actId="6549"/>
          <ac:spMkLst>
            <pc:docMk/>
            <pc:sldMk cId="1562900042" sldId="1976"/>
            <ac:spMk id="3" creationId="{06AC962A-FABE-4F14-91E7-A91AD417ADFF}"/>
          </ac:spMkLst>
        </pc:spChg>
      </pc:sldChg>
      <pc:sldMasterChg chg="add del addSldLayout delSldLayout">
        <pc:chgData name="Rasmussen, Susanne" userId="0bd74171-9339-45ee-b4ef-ce827adfd046" providerId="ADAL" clId="{9A7DD9CE-4C06-48AB-9E64-1F168ED79126}" dt="2023-07-07T14:04:40.753" v="383" actId="2696"/>
        <pc:sldMasterMkLst>
          <pc:docMk/>
          <pc:sldMasterMk cId="723420972" sldId="2147483685"/>
        </pc:sldMasterMkLst>
        <pc:sldLayoutChg chg="add del">
          <pc:chgData name="Rasmussen, Susanne" userId="0bd74171-9339-45ee-b4ef-ce827adfd046" providerId="ADAL" clId="{9A7DD9CE-4C06-48AB-9E64-1F168ED79126}" dt="2023-07-07T14:04:40.753" v="383" actId="2696"/>
          <pc:sldLayoutMkLst>
            <pc:docMk/>
            <pc:sldMasterMk cId="723420972" sldId="2147483685"/>
            <pc:sldLayoutMk cId="2217919563" sldId="2147483686"/>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187513814" sldId="2147483687"/>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201841186" sldId="2147483688"/>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213091132" sldId="2147483689"/>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2864693851" sldId="2147483690"/>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2145278145" sldId="2147483691"/>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1918431508" sldId="2147483692"/>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486642063" sldId="2147483693"/>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3150040562" sldId="2147483694"/>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2957499613" sldId="2147483695"/>
          </pc:sldLayoutMkLst>
        </pc:sldLayoutChg>
        <pc:sldLayoutChg chg="add del">
          <pc:chgData name="Rasmussen, Susanne" userId="0bd74171-9339-45ee-b4ef-ce827adfd046" providerId="ADAL" clId="{9A7DD9CE-4C06-48AB-9E64-1F168ED79126}" dt="2023-07-07T14:04:40.753" v="383" actId="2696"/>
          <pc:sldLayoutMkLst>
            <pc:docMk/>
            <pc:sldMasterMk cId="723420972" sldId="2147483685"/>
            <pc:sldLayoutMk cId="3288134071" sldId="2147483696"/>
          </pc:sldLayoutMkLst>
        </pc:sldLayoutChg>
      </pc:sldMasterChg>
    </pc:docChg>
  </pc:docChgLst>
  <pc:docChgLst>
    <pc:chgData name="Rasmussen, Susanne" userId="S::srasmussen@cambridgema.gov::0bd74171-9339-45ee-b4ef-ce827adfd046" providerId="AD" clId="Web-{869CF6D6-46B0-29D9-8935-6925DBD103E0}"/>
    <pc:docChg chg="delSld">
      <pc:chgData name="Rasmussen, Susanne" userId="S::srasmussen@cambridgema.gov::0bd74171-9339-45ee-b4ef-ce827adfd046" providerId="AD" clId="Web-{869CF6D6-46B0-29D9-8935-6925DBD103E0}" dt="2023-07-07T18:04:24.348" v="3"/>
      <pc:docMkLst>
        <pc:docMk/>
      </pc:docMkLst>
      <pc:sldChg chg="del">
        <pc:chgData name="Rasmussen, Susanne" userId="S::srasmussen@cambridgema.gov::0bd74171-9339-45ee-b4ef-ce827adfd046" providerId="AD" clId="Web-{869CF6D6-46B0-29D9-8935-6925DBD103E0}" dt="2023-07-07T18:04:24.348" v="3"/>
        <pc:sldMkLst>
          <pc:docMk/>
          <pc:sldMk cId="1155239185" sldId="299"/>
        </pc:sldMkLst>
      </pc:sldChg>
      <pc:sldChg chg="delCm">
        <pc:chgData name="Rasmussen, Susanne" userId="S::srasmussen@cambridgema.gov::0bd74171-9339-45ee-b4ef-ce827adfd046" providerId="AD" clId="Web-{869CF6D6-46B0-29D9-8935-6925DBD103E0}" dt="2023-07-07T18:04:10.910" v="2"/>
        <pc:sldMkLst>
          <pc:docMk/>
          <pc:sldMk cId="813981643" sldId="301"/>
        </pc:sldMkLst>
        <pc:extLst>
          <p:ext xmlns:p="http://schemas.openxmlformats.org/presentationml/2006/main" uri="{D6D511B9-2390-475A-947B-AFAB55BFBCF1}">
            <pc226:cmChg xmlns:pc226="http://schemas.microsoft.com/office/powerpoint/2022/06/main/command" chg="del">
              <pc226:chgData name="Rasmussen, Susanne" userId="S::srasmussen@cambridgema.gov::0bd74171-9339-45ee-b4ef-ce827adfd046" providerId="AD" clId="Web-{869CF6D6-46B0-29D9-8935-6925DBD103E0}" dt="2023-07-07T18:04:10.910" v="2"/>
              <pc2:cmMkLst xmlns:pc2="http://schemas.microsoft.com/office/powerpoint/2019/9/main/command">
                <pc:docMk/>
                <pc:sldMk cId="813981643" sldId="301"/>
                <pc2:cmMk id="{2524FC28-B0DE-4EBD-B50F-DFD147B4412B}"/>
              </pc2:cmMkLst>
            </pc226:cmChg>
          </p:ext>
        </pc:extLst>
      </pc:sldChg>
      <pc:sldChg chg="delCm">
        <pc:chgData name="Rasmussen, Susanne" userId="S::srasmussen@cambridgema.gov::0bd74171-9339-45ee-b4ef-ce827adfd046" providerId="AD" clId="Web-{869CF6D6-46B0-29D9-8935-6925DBD103E0}" dt="2023-07-07T18:03:38.190" v="1"/>
        <pc:sldMkLst>
          <pc:docMk/>
          <pc:sldMk cId="2338493111" sldId="308"/>
        </pc:sldMkLst>
        <pc:extLst>
          <p:ext xmlns:p="http://schemas.openxmlformats.org/presentationml/2006/main" uri="{D6D511B9-2390-475A-947B-AFAB55BFBCF1}">
            <pc226:cmChg xmlns:pc226="http://schemas.microsoft.com/office/powerpoint/2022/06/main/command" chg="del">
              <pc226:chgData name="Rasmussen, Susanne" userId="S::srasmussen@cambridgema.gov::0bd74171-9339-45ee-b4ef-ce827adfd046" providerId="AD" clId="Web-{869CF6D6-46B0-29D9-8935-6925DBD103E0}" dt="2023-07-07T18:03:38.190" v="1"/>
              <pc2:cmMkLst xmlns:pc2="http://schemas.microsoft.com/office/powerpoint/2019/9/main/command">
                <pc:docMk/>
                <pc:sldMk cId="2338493111" sldId="308"/>
                <pc2:cmMk id="{04F58FA7-7559-47E9-805C-3A35D8504660}"/>
              </pc2:cmMkLst>
            </pc226:cmChg>
          </p:ext>
        </pc:extLst>
      </pc:sldChg>
      <pc:sldChg chg="delCm">
        <pc:chgData name="Rasmussen, Susanne" userId="S::srasmussen@cambridgema.gov::0bd74171-9339-45ee-b4ef-ce827adfd046" providerId="AD" clId="Web-{869CF6D6-46B0-29D9-8935-6925DBD103E0}" dt="2023-07-07T18:03:04.470" v="0"/>
        <pc:sldMkLst>
          <pc:docMk/>
          <pc:sldMk cId="1963271544" sldId="1132"/>
        </pc:sldMkLst>
        <pc:extLst>
          <p:ext xmlns:p="http://schemas.openxmlformats.org/presentationml/2006/main" uri="{D6D511B9-2390-475A-947B-AFAB55BFBCF1}">
            <pc226:cmChg xmlns:pc226="http://schemas.microsoft.com/office/powerpoint/2022/06/main/command" chg="del">
              <pc226:chgData name="Rasmussen, Susanne" userId="S::srasmussen@cambridgema.gov::0bd74171-9339-45ee-b4ef-ce827adfd046" providerId="AD" clId="Web-{869CF6D6-46B0-29D9-8935-6925DBD103E0}" dt="2023-07-07T18:03:04.470" v="0"/>
              <pc2:cmMkLst xmlns:pc2="http://schemas.microsoft.com/office/powerpoint/2019/9/main/command">
                <pc:docMk/>
                <pc:sldMk cId="1963271544" sldId="1132"/>
                <pc2:cmMk id="{A13E80A7-6CFD-46C4-82A0-FE38D3E55361}"/>
              </pc2:cmMkLst>
            </pc226:cmChg>
          </p:ext>
        </pc:extLst>
      </pc:sldChg>
    </pc:docChg>
  </pc:docChgLst>
  <pc:docChgLst>
    <pc:chgData name="Rosa, Crystal" userId="fb74c9b1-33bd-4af2-8565-ea2bdc65fe6b" providerId="ADAL" clId="{9412ADB2-B477-4EEB-A084-4589156AB8D0}"/>
    <pc:docChg chg="modSld">
      <pc:chgData name="Rosa, Crystal" userId="fb74c9b1-33bd-4af2-8565-ea2bdc65fe6b" providerId="ADAL" clId="{9412ADB2-B477-4EEB-A084-4589156AB8D0}" dt="2023-07-13T21:33:48.803" v="29" actId="255"/>
      <pc:docMkLst>
        <pc:docMk/>
      </pc:docMkLst>
      <pc:sldChg chg="modSp mod">
        <pc:chgData name="Rosa, Crystal" userId="fb74c9b1-33bd-4af2-8565-ea2bdc65fe6b" providerId="ADAL" clId="{9412ADB2-B477-4EEB-A084-4589156AB8D0}" dt="2023-07-13T21:33:32.442" v="28" actId="404"/>
        <pc:sldMkLst>
          <pc:docMk/>
          <pc:sldMk cId="2346477064" sldId="296"/>
        </pc:sldMkLst>
        <pc:spChg chg="mod">
          <ac:chgData name="Rosa, Crystal" userId="fb74c9b1-33bd-4af2-8565-ea2bdc65fe6b" providerId="ADAL" clId="{9412ADB2-B477-4EEB-A084-4589156AB8D0}" dt="2023-07-13T21:33:28.288" v="27" actId="404"/>
          <ac:spMkLst>
            <pc:docMk/>
            <pc:sldMk cId="2346477064" sldId="296"/>
            <ac:spMk id="3" creationId="{06AC962A-FABE-4F14-91E7-A91AD417ADFF}"/>
          </ac:spMkLst>
        </pc:spChg>
        <pc:spChg chg="mod">
          <ac:chgData name="Rosa, Crystal" userId="fb74c9b1-33bd-4af2-8565-ea2bdc65fe6b" providerId="ADAL" clId="{9412ADB2-B477-4EEB-A084-4589156AB8D0}" dt="2023-07-13T21:33:32.442" v="28" actId="404"/>
          <ac:spMkLst>
            <pc:docMk/>
            <pc:sldMk cId="2346477064" sldId="296"/>
            <ac:spMk id="18" creationId="{131F2AF7-DFEE-A6A3-7AB5-0606F78CD218}"/>
          </ac:spMkLst>
        </pc:spChg>
      </pc:sldChg>
      <pc:sldChg chg="addSp modSp mod">
        <pc:chgData name="Rosa, Crystal" userId="fb74c9b1-33bd-4af2-8565-ea2bdc65fe6b" providerId="ADAL" clId="{9412ADB2-B477-4EEB-A084-4589156AB8D0}" dt="2023-07-13T21:32:53.973" v="25" actId="1036"/>
        <pc:sldMkLst>
          <pc:docMk/>
          <pc:sldMk cId="1650613911" sldId="303"/>
        </pc:sldMkLst>
        <pc:graphicFrameChg chg="add mod">
          <ac:chgData name="Rosa, Crystal" userId="fb74c9b1-33bd-4af2-8565-ea2bdc65fe6b" providerId="ADAL" clId="{9412ADB2-B477-4EEB-A084-4589156AB8D0}" dt="2023-07-13T21:32:53.973" v="25" actId="1036"/>
          <ac:graphicFrameMkLst>
            <pc:docMk/>
            <pc:sldMk cId="1650613911" sldId="303"/>
            <ac:graphicFrameMk id="7" creationId="{F14D6D29-3253-FFDE-BCA2-F8E6D437AF76}"/>
          </ac:graphicFrameMkLst>
        </pc:graphicFrameChg>
      </pc:sldChg>
      <pc:sldChg chg="modSp mod">
        <pc:chgData name="Rosa, Crystal" userId="fb74c9b1-33bd-4af2-8565-ea2bdc65fe6b" providerId="ADAL" clId="{9412ADB2-B477-4EEB-A084-4589156AB8D0}" dt="2023-07-13T21:33:16.571" v="26" actId="14100"/>
        <pc:sldMkLst>
          <pc:docMk/>
          <pc:sldMk cId="1936964873" sldId="307"/>
        </pc:sldMkLst>
        <pc:spChg chg="mod">
          <ac:chgData name="Rosa, Crystal" userId="fb74c9b1-33bd-4af2-8565-ea2bdc65fe6b" providerId="ADAL" clId="{9412ADB2-B477-4EEB-A084-4589156AB8D0}" dt="2023-07-13T21:33:16.571" v="26" actId="14100"/>
          <ac:spMkLst>
            <pc:docMk/>
            <pc:sldMk cId="1936964873" sldId="307"/>
            <ac:spMk id="2" creationId="{71ECDFDF-B56B-4C43-BBBF-D35CEE5E475F}"/>
          </ac:spMkLst>
        </pc:spChg>
      </pc:sldChg>
      <pc:sldChg chg="modSp mod">
        <pc:chgData name="Rosa, Crystal" userId="fb74c9b1-33bd-4af2-8565-ea2bdc65fe6b" providerId="ADAL" clId="{9412ADB2-B477-4EEB-A084-4589156AB8D0}" dt="2023-07-13T21:32:10.203" v="0" actId="114"/>
        <pc:sldMkLst>
          <pc:docMk/>
          <pc:sldMk cId="1963271544" sldId="1132"/>
        </pc:sldMkLst>
        <pc:spChg chg="mod">
          <ac:chgData name="Rosa, Crystal" userId="fb74c9b1-33bd-4af2-8565-ea2bdc65fe6b" providerId="ADAL" clId="{9412ADB2-B477-4EEB-A084-4589156AB8D0}" dt="2023-07-13T21:32:10.203" v="0" actId="114"/>
          <ac:spMkLst>
            <pc:docMk/>
            <pc:sldMk cId="1963271544" sldId="1132"/>
            <ac:spMk id="26" creationId="{07CE0FFF-B88F-4BF6-A69A-2F7EF781B2CD}"/>
          </ac:spMkLst>
        </pc:spChg>
      </pc:sldChg>
      <pc:sldChg chg="modSp mod">
        <pc:chgData name="Rosa, Crystal" userId="fb74c9b1-33bd-4af2-8565-ea2bdc65fe6b" providerId="ADAL" clId="{9412ADB2-B477-4EEB-A084-4589156AB8D0}" dt="2023-07-13T21:32:22.937" v="1" actId="114"/>
        <pc:sldMkLst>
          <pc:docMk/>
          <pc:sldMk cId="3474700355" sldId="1958"/>
        </pc:sldMkLst>
        <pc:spChg chg="mod">
          <ac:chgData name="Rosa, Crystal" userId="fb74c9b1-33bd-4af2-8565-ea2bdc65fe6b" providerId="ADAL" clId="{9412ADB2-B477-4EEB-A084-4589156AB8D0}" dt="2023-07-13T21:32:22.937" v="1" actId="114"/>
          <ac:spMkLst>
            <pc:docMk/>
            <pc:sldMk cId="3474700355" sldId="1958"/>
            <ac:spMk id="14" creationId="{9C52EBCC-05CF-19D1-CA36-2D2D0F98314B}"/>
          </ac:spMkLst>
        </pc:spChg>
      </pc:sldChg>
      <pc:sldChg chg="modSp mod">
        <pc:chgData name="Rosa, Crystal" userId="fb74c9b1-33bd-4af2-8565-ea2bdc65fe6b" providerId="ADAL" clId="{9412ADB2-B477-4EEB-A084-4589156AB8D0}" dt="2023-07-13T21:33:48.803" v="29" actId="255"/>
        <pc:sldMkLst>
          <pc:docMk/>
          <pc:sldMk cId="2184168918" sldId="1975"/>
        </pc:sldMkLst>
        <pc:spChg chg="mod">
          <ac:chgData name="Rosa, Crystal" userId="fb74c9b1-33bd-4af2-8565-ea2bdc65fe6b" providerId="ADAL" clId="{9412ADB2-B477-4EEB-A084-4589156AB8D0}" dt="2023-07-13T21:33:48.803" v="29" actId="255"/>
          <ac:spMkLst>
            <pc:docMk/>
            <pc:sldMk cId="2184168918" sldId="1975"/>
            <ac:spMk id="3" creationId="{06AC962A-FABE-4F14-91E7-A91AD417ADFF}"/>
          </ac:spMkLst>
        </pc:spChg>
      </pc:sldChg>
    </pc:docChg>
  </pc:docChgLst>
  <pc:docChgLst>
    <pc:chgData name="Nadkarni, Nikhil" userId="8cb4e2ce-db3a-48d0-bf6f-d5eb8967a6f9" providerId="ADAL" clId="{3D8AE9CF-11A6-4709-B7E1-28958F68C423}"/>
    <pc:docChg chg="undo redo custSel addSld delSld modSld sldOrd">
      <pc:chgData name="Nadkarni, Nikhil" userId="8cb4e2ce-db3a-48d0-bf6f-d5eb8967a6f9" providerId="ADAL" clId="{3D8AE9CF-11A6-4709-B7E1-28958F68C423}" dt="2023-07-10T20:30:52.204" v="7951" actId="20577"/>
      <pc:docMkLst>
        <pc:docMk/>
      </pc:docMkLst>
      <pc:sldChg chg="delSp modSp mod">
        <pc:chgData name="Nadkarni, Nikhil" userId="8cb4e2ce-db3a-48d0-bf6f-d5eb8967a6f9" providerId="ADAL" clId="{3D8AE9CF-11A6-4709-B7E1-28958F68C423}" dt="2023-07-10T20:21:05.088" v="6665" actId="962"/>
        <pc:sldMkLst>
          <pc:docMk/>
          <pc:sldMk cId="1323482831" sldId="264"/>
        </pc:sldMkLst>
        <pc:spChg chg="mod">
          <ac:chgData name="Nadkarni, Nikhil" userId="8cb4e2ce-db3a-48d0-bf6f-d5eb8967a6f9" providerId="ADAL" clId="{3D8AE9CF-11A6-4709-B7E1-28958F68C423}" dt="2023-07-07T16:53:38.700" v="3" actId="20577"/>
          <ac:spMkLst>
            <pc:docMk/>
            <pc:sldMk cId="1323482831" sldId="264"/>
            <ac:spMk id="2" creationId="{75B90E77-7E96-13CD-A0C5-93F1CBBC75ED}"/>
          </ac:spMkLst>
        </pc:spChg>
        <pc:spChg chg="mod">
          <ac:chgData name="Nadkarni, Nikhil" userId="8cb4e2ce-db3a-48d0-bf6f-d5eb8967a6f9" providerId="ADAL" clId="{3D8AE9CF-11A6-4709-B7E1-28958F68C423}" dt="2023-07-10T20:21:05.088" v="6665" actId="962"/>
          <ac:spMkLst>
            <pc:docMk/>
            <pc:sldMk cId="1323482831" sldId="264"/>
            <ac:spMk id="3" creationId="{01F86F2B-DD5A-C2FE-BD8E-43810D315F14}"/>
          </ac:spMkLst>
        </pc:spChg>
        <pc:spChg chg="del">
          <ac:chgData name="Nadkarni, Nikhil" userId="8cb4e2ce-db3a-48d0-bf6f-d5eb8967a6f9" providerId="ADAL" clId="{3D8AE9CF-11A6-4709-B7E1-28958F68C423}" dt="2023-07-10T20:20:42.202" v="6617" actId="478"/>
          <ac:spMkLst>
            <pc:docMk/>
            <pc:sldMk cId="1323482831" sldId="264"/>
            <ac:spMk id="9" creationId="{00000000-0000-0000-0000-000000000000}"/>
          </ac:spMkLst>
        </pc:spChg>
        <pc:spChg chg="mod">
          <ac:chgData name="Nadkarni, Nikhil" userId="8cb4e2ce-db3a-48d0-bf6f-d5eb8967a6f9" providerId="ADAL" clId="{3D8AE9CF-11A6-4709-B7E1-28958F68C423}" dt="2023-07-10T20:19:09.259" v="6535" actId="33553"/>
          <ac:spMkLst>
            <pc:docMk/>
            <pc:sldMk cId="1323482831" sldId="264"/>
            <ac:spMk id="15" creationId="{C326D269-7F41-4E44-8A13-AE1B695E8677}"/>
          </ac:spMkLst>
        </pc:spChg>
        <pc:spChg chg="mod">
          <ac:chgData name="Nadkarni, Nikhil" userId="8cb4e2ce-db3a-48d0-bf6f-d5eb8967a6f9" providerId="ADAL" clId="{3D8AE9CF-11A6-4709-B7E1-28958F68C423}" dt="2023-07-10T20:21:02.321" v="6664" actId="962"/>
          <ac:spMkLst>
            <pc:docMk/>
            <pc:sldMk cId="1323482831" sldId="264"/>
            <ac:spMk id="22" creationId="{D9793570-47BE-49A6-A6D0-DC7D984EFEBE}"/>
          </ac:spMkLst>
        </pc:spChg>
        <pc:picChg chg="mod">
          <ac:chgData name="Nadkarni, Nikhil" userId="8cb4e2ce-db3a-48d0-bf6f-d5eb8967a6f9" providerId="ADAL" clId="{3D8AE9CF-11A6-4709-B7E1-28958F68C423}" dt="2023-07-10T20:20:49.853" v="6645" actId="962"/>
          <ac:picMkLst>
            <pc:docMk/>
            <pc:sldMk cId="1323482831" sldId="264"/>
            <ac:picMk id="4" creationId="{6D811143-9518-4082-8E3D-458C3A920201}"/>
          </ac:picMkLst>
        </pc:picChg>
        <pc:picChg chg="mod">
          <ac:chgData name="Nadkarni, Nikhil" userId="8cb4e2ce-db3a-48d0-bf6f-d5eb8967a6f9" providerId="ADAL" clId="{3D8AE9CF-11A6-4709-B7E1-28958F68C423}" dt="2023-07-10T20:20:54.720" v="6663" actId="962"/>
          <ac:picMkLst>
            <pc:docMk/>
            <pc:sldMk cId="1323482831" sldId="264"/>
            <ac:picMk id="6" creationId="{26674E0B-912D-4C98-8001-D49400E18B3C}"/>
          </ac:picMkLst>
        </pc:picChg>
        <pc:picChg chg="mod">
          <ac:chgData name="Nadkarni, Nikhil" userId="8cb4e2ce-db3a-48d0-bf6f-d5eb8967a6f9" providerId="ADAL" clId="{3D8AE9CF-11A6-4709-B7E1-28958F68C423}" dt="2023-07-10T20:20:35.040" v="6616" actId="962"/>
          <ac:picMkLst>
            <pc:docMk/>
            <pc:sldMk cId="1323482831" sldId="264"/>
            <ac:picMk id="21" creationId="{210CE73C-95C7-4522-A7BB-41FC50781EFE}"/>
          </ac:picMkLst>
        </pc:picChg>
      </pc:sldChg>
      <pc:sldChg chg="modSp mod">
        <pc:chgData name="Nadkarni, Nikhil" userId="8cb4e2ce-db3a-48d0-bf6f-d5eb8967a6f9" providerId="ADAL" clId="{3D8AE9CF-11A6-4709-B7E1-28958F68C423}" dt="2023-07-10T20:22:10.450" v="6747" actId="962"/>
        <pc:sldMkLst>
          <pc:docMk/>
          <pc:sldMk cId="443159585" sldId="295"/>
        </pc:sldMkLst>
        <pc:spChg chg="mod">
          <ac:chgData name="Nadkarni, Nikhil" userId="8cb4e2ce-db3a-48d0-bf6f-d5eb8967a6f9" providerId="ADAL" clId="{3D8AE9CF-11A6-4709-B7E1-28958F68C423}" dt="2023-07-10T17:16:32.050" v="2552" actId="1076"/>
          <ac:spMkLst>
            <pc:docMk/>
            <pc:sldMk cId="443159585" sldId="295"/>
            <ac:spMk id="2" creationId="{71ECDFDF-B56B-4C43-BBBF-D35CEE5E475F}"/>
          </ac:spMkLst>
        </pc:spChg>
        <pc:spChg chg="mod">
          <ac:chgData name="Nadkarni, Nikhil" userId="8cb4e2ce-db3a-48d0-bf6f-d5eb8967a6f9" providerId="ADAL" clId="{3D8AE9CF-11A6-4709-B7E1-28958F68C423}" dt="2023-07-10T19:22:25.414" v="4056" actId="20577"/>
          <ac:spMkLst>
            <pc:docMk/>
            <pc:sldMk cId="443159585" sldId="295"/>
            <ac:spMk id="3" creationId="{06AC962A-FABE-4F14-91E7-A91AD417ADFF}"/>
          </ac:spMkLst>
        </pc:spChg>
        <pc:spChg chg="mod">
          <ac:chgData name="Nadkarni, Nikhil" userId="8cb4e2ce-db3a-48d0-bf6f-d5eb8967a6f9" providerId="ADAL" clId="{3D8AE9CF-11A6-4709-B7E1-28958F68C423}" dt="2023-07-10T20:22:10.450" v="6747" actId="962"/>
          <ac:spMkLst>
            <pc:docMk/>
            <pc:sldMk cId="443159585" sldId="295"/>
            <ac:spMk id="6" creationId="{0038D609-7001-4947-92BB-A379E0414168}"/>
          </ac:spMkLst>
        </pc:spChg>
        <pc:spChg chg="mod">
          <ac:chgData name="Nadkarni, Nikhil" userId="8cb4e2ce-db3a-48d0-bf6f-d5eb8967a6f9" providerId="ADAL" clId="{3D8AE9CF-11A6-4709-B7E1-28958F68C423}" dt="2023-07-10T19:26:52.150" v="4143" actId="20577"/>
          <ac:spMkLst>
            <pc:docMk/>
            <pc:sldMk cId="443159585" sldId="295"/>
            <ac:spMk id="9" creationId="{BADF41E3-B302-4C05-B004-242B35D59BFB}"/>
          </ac:spMkLst>
        </pc:spChg>
      </pc:sldChg>
      <pc:sldChg chg="modSp mod delCm modCm">
        <pc:chgData name="Nadkarni, Nikhil" userId="8cb4e2ce-db3a-48d0-bf6f-d5eb8967a6f9" providerId="ADAL" clId="{3D8AE9CF-11A6-4709-B7E1-28958F68C423}" dt="2023-07-10T20:25:25.622" v="7863" actId="962"/>
        <pc:sldMkLst>
          <pc:docMk/>
          <pc:sldMk cId="2346477064" sldId="296"/>
        </pc:sldMkLst>
        <pc:spChg chg="mod">
          <ac:chgData name="Nadkarni, Nikhil" userId="8cb4e2ce-db3a-48d0-bf6f-d5eb8967a6f9" providerId="ADAL" clId="{3D8AE9CF-11A6-4709-B7E1-28958F68C423}" dt="2023-07-10T19:22:59.916" v="4106" actId="1076"/>
          <ac:spMkLst>
            <pc:docMk/>
            <pc:sldMk cId="2346477064" sldId="296"/>
            <ac:spMk id="2" creationId="{71ECDFDF-B56B-4C43-BBBF-D35CEE5E475F}"/>
          </ac:spMkLst>
        </pc:spChg>
        <pc:spChg chg="mod">
          <ac:chgData name="Nadkarni, Nikhil" userId="8cb4e2ce-db3a-48d0-bf6f-d5eb8967a6f9" providerId="ADAL" clId="{3D8AE9CF-11A6-4709-B7E1-28958F68C423}" dt="2023-07-10T20:16:13.534" v="6520" actId="20577"/>
          <ac:spMkLst>
            <pc:docMk/>
            <pc:sldMk cId="2346477064" sldId="296"/>
            <ac:spMk id="3" creationId="{06AC962A-FABE-4F14-91E7-A91AD417ADFF}"/>
          </ac:spMkLst>
        </pc:spChg>
        <pc:spChg chg="mod">
          <ac:chgData name="Nadkarni, Nikhil" userId="8cb4e2ce-db3a-48d0-bf6f-d5eb8967a6f9" providerId="ADAL" clId="{3D8AE9CF-11A6-4709-B7E1-28958F68C423}" dt="2023-07-10T20:22:09.087" v="6746" actId="962"/>
          <ac:spMkLst>
            <pc:docMk/>
            <pc:sldMk cId="2346477064" sldId="296"/>
            <ac:spMk id="6" creationId="{0038D609-7001-4947-92BB-A379E0414168}"/>
          </ac:spMkLst>
        </pc:spChg>
        <pc:spChg chg="mod">
          <ac:chgData name="Nadkarni, Nikhil" userId="8cb4e2ce-db3a-48d0-bf6f-d5eb8967a6f9" providerId="ADAL" clId="{3D8AE9CF-11A6-4709-B7E1-28958F68C423}" dt="2023-07-10T20:25:16.795" v="7857" actId="962"/>
          <ac:spMkLst>
            <pc:docMk/>
            <pc:sldMk cId="2346477064" sldId="296"/>
            <ac:spMk id="7" creationId="{97C953B7-6F41-0F4A-2431-0C481CDC431B}"/>
          </ac:spMkLst>
        </pc:spChg>
        <pc:spChg chg="mod">
          <ac:chgData name="Nadkarni, Nikhil" userId="8cb4e2ce-db3a-48d0-bf6f-d5eb8967a6f9" providerId="ADAL" clId="{3D8AE9CF-11A6-4709-B7E1-28958F68C423}" dt="2023-07-10T19:27:01.205" v="4147" actId="20577"/>
          <ac:spMkLst>
            <pc:docMk/>
            <pc:sldMk cId="2346477064" sldId="296"/>
            <ac:spMk id="9" creationId="{BADF41E3-B302-4C05-B004-242B35D59BFB}"/>
          </ac:spMkLst>
        </pc:spChg>
        <pc:spChg chg="mod">
          <ac:chgData name="Nadkarni, Nikhil" userId="8cb4e2ce-db3a-48d0-bf6f-d5eb8967a6f9" providerId="ADAL" clId="{3D8AE9CF-11A6-4709-B7E1-28958F68C423}" dt="2023-07-10T20:25:18.184" v="7858" actId="962"/>
          <ac:spMkLst>
            <pc:docMk/>
            <pc:sldMk cId="2346477064" sldId="296"/>
            <ac:spMk id="11" creationId="{E3FBDFC8-7ED1-B7D1-0592-54303AA322D9}"/>
          </ac:spMkLst>
        </pc:spChg>
        <pc:spChg chg="mod">
          <ac:chgData name="Nadkarni, Nikhil" userId="8cb4e2ce-db3a-48d0-bf6f-d5eb8967a6f9" providerId="ADAL" clId="{3D8AE9CF-11A6-4709-B7E1-28958F68C423}" dt="2023-07-10T20:25:19.471" v="7859" actId="962"/>
          <ac:spMkLst>
            <pc:docMk/>
            <pc:sldMk cId="2346477064" sldId="296"/>
            <ac:spMk id="12" creationId="{9DA9AB8A-E633-E98B-87E1-EB2E0ECE41CB}"/>
          </ac:spMkLst>
        </pc:spChg>
        <pc:spChg chg="mod">
          <ac:chgData name="Nadkarni, Nikhil" userId="8cb4e2ce-db3a-48d0-bf6f-d5eb8967a6f9" providerId="ADAL" clId="{3D8AE9CF-11A6-4709-B7E1-28958F68C423}" dt="2023-07-10T20:25:21.053" v="7860" actId="962"/>
          <ac:spMkLst>
            <pc:docMk/>
            <pc:sldMk cId="2346477064" sldId="296"/>
            <ac:spMk id="13" creationId="{F5C348E1-88C4-DCA4-8D84-07546A3F3CD6}"/>
          </ac:spMkLst>
        </pc:spChg>
        <pc:spChg chg="mod">
          <ac:chgData name="Nadkarni, Nikhil" userId="8cb4e2ce-db3a-48d0-bf6f-d5eb8967a6f9" providerId="ADAL" clId="{3D8AE9CF-11A6-4709-B7E1-28958F68C423}" dt="2023-07-10T20:25:22.792" v="7861" actId="962"/>
          <ac:spMkLst>
            <pc:docMk/>
            <pc:sldMk cId="2346477064" sldId="296"/>
            <ac:spMk id="14" creationId="{9B5F73FF-84A3-76CA-A691-0B774DE4B159}"/>
          </ac:spMkLst>
        </pc:spChg>
        <pc:spChg chg="mod">
          <ac:chgData name="Nadkarni, Nikhil" userId="8cb4e2ce-db3a-48d0-bf6f-d5eb8967a6f9" providerId="ADAL" clId="{3D8AE9CF-11A6-4709-B7E1-28958F68C423}" dt="2023-07-10T20:25:24.114" v="7862" actId="962"/>
          <ac:spMkLst>
            <pc:docMk/>
            <pc:sldMk cId="2346477064" sldId="296"/>
            <ac:spMk id="15" creationId="{6689F8E4-5C11-B8B5-AB53-B485093BFBC1}"/>
          </ac:spMkLst>
        </pc:spChg>
        <pc:spChg chg="mod">
          <ac:chgData name="Nadkarni, Nikhil" userId="8cb4e2ce-db3a-48d0-bf6f-d5eb8967a6f9" providerId="ADAL" clId="{3D8AE9CF-11A6-4709-B7E1-28958F68C423}" dt="2023-07-10T20:25:25.622" v="7863" actId="962"/>
          <ac:spMkLst>
            <pc:docMk/>
            <pc:sldMk cId="2346477064" sldId="296"/>
            <ac:spMk id="16" creationId="{8B3741B8-9816-4D55-42CA-6EFF6F5242E4}"/>
          </ac:spMkLst>
        </pc:spChg>
        <pc:spChg chg="mod">
          <ac:chgData name="Nadkarni, Nikhil" userId="8cb4e2ce-db3a-48d0-bf6f-d5eb8967a6f9" providerId="ADAL" clId="{3D8AE9CF-11A6-4709-B7E1-28958F68C423}" dt="2023-07-10T16:41:49.042" v="967" actId="13926"/>
          <ac:spMkLst>
            <pc:docMk/>
            <pc:sldMk cId="2346477064" sldId="296"/>
            <ac:spMk id="18" creationId="{131F2AF7-DFEE-A6A3-7AB5-0606F78CD218}"/>
          </ac:spMkLst>
        </pc:spChg>
        <pc:picChg chg="mod">
          <ac:chgData name="Nadkarni, Nikhil" userId="8cb4e2ce-db3a-48d0-bf6f-d5eb8967a6f9" providerId="ADAL" clId="{3D8AE9CF-11A6-4709-B7E1-28958F68C423}" dt="2023-07-10T20:25:11.678" v="7856" actId="962"/>
          <ac:picMkLst>
            <pc:docMk/>
            <pc:sldMk cId="2346477064" sldId="296"/>
            <ac:picMk id="4" creationId="{99A41550-23C3-5D52-D831-E73DEE9926C0}"/>
          </ac:picMkLst>
        </pc:picChg>
        <pc:extLst>
          <p:ext xmlns:p="http://schemas.openxmlformats.org/presentationml/2006/main" uri="{D6D511B9-2390-475A-947B-AFAB55BFBCF1}">
            <pc226:cmChg xmlns:pc226="http://schemas.microsoft.com/office/powerpoint/2022/06/main/command" chg="del mod">
              <pc226:chgData name="Nadkarni, Nikhil" userId="8cb4e2ce-db3a-48d0-bf6f-d5eb8967a6f9" providerId="ADAL" clId="{3D8AE9CF-11A6-4709-B7E1-28958F68C423}" dt="2023-07-10T19:22:54.388" v="4105"/>
              <pc2:cmMkLst xmlns:pc2="http://schemas.microsoft.com/office/powerpoint/2019/9/main/command">
                <pc:docMk/>
                <pc:sldMk cId="2346477064" sldId="296"/>
                <pc2:cmMk id="{05EFD7A6-C967-4A80-B709-16A98EBF4F0F}"/>
              </pc2:cmMkLst>
            </pc226:cmChg>
          </p:ext>
        </pc:extLst>
      </pc:sldChg>
      <pc:sldChg chg="addSp modSp mod">
        <pc:chgData name="Nadkarni, Nikhil" userId="8cb4e2ce-db3a-48d0-bf6f-d5eb8967a6f9" providerId="ADAL" clId="{3D8AE9CF-11A6-4709-B7E1-28958F68C423}" dt="2023-07-10T20:21:54.322" v="6738" actId="962"/>
        <pc:sldMkLst>
          <pc:docMk/>
          <pc:sldMk cId="3259736002" sldId="297"/>
        </pc:sldMkLst>
        <pc:spChg chg="mod">
          <ac:chgData name="Nadkarni, Nikhil" userId="8cb4e2ce-db3a-48d0-bf6f-d5eb8967a6f9" providerId="ADAL" clId="{3D8AE9CF-11A6-4709-B7E1-28958F68C423}" dt="2023-07-10T19:39:52.421" v="4761" actId="20577"/>
          <ac:spMkLst>
            <pc:docMk/>
            <pc:sldMk cId="3259736002" sldId="297"/>
            <ac:spMk id="2" creationId="{71ECDFDF-B56B-4C43-BBBF-D35CEE5E475F}"/>
          </ac:spMkLst>
        </pc:spChg>
        <pc:spChg chg="mod">
          <ac:chgData name="Nadkarni, Nikhil" userId="8cb4e2ce-db3a-48d0-bf6f-d5eb8967a6f9" providerId="ADAL" clId="{3D8AE9CF-11A6-4709-B7E1-28958F68C423}" dt="2023-07-10T20:18:12.158" v="6534" actId="20577"/>
          <ac:spMkLst>
            <pc:docMk/>
            <pc:sldMk cId="3259736002" sldId="297"/>
            <ac:spMk id="3" creationId="{06AC962A-FABE-4F14-91E7-A91AD417ADFF}"/>
          </ac:spMkLst>
        </pc:spChg>
        <pc:spChg chg="add mod">
          <ac:chgData name="Nadkarni, Nikhil" userId="8cb4e2ce-db3a-48d0-bf6f-d5eb8967a6f9" providerId="ADAL" clId="{3D8AE9CF-11A6-4709-B7E1-28958F68C423}" dt="2023-07-10T19:56:01.632" v="5526" actId="20578"/>
          <ac:spMkLst>
            <pc:docMk/>
            <pc:sldMk cId="3259736002" sldId="297"/>
            <ac:spMk id="4" creationId="{96B35D68-DDEC-DA4B-6BA6-36BEC583C076}"/>
          </ac:spMkLst>
        </pc:spChg>
        <pc:spChg chg="mod">
          <ac:chgData name="Nadkarni, Nikhil" userId="8cb4e2ce-db3a-48d0-bf6f-d5eb8967a6f9" providerId="ADAL" clId="{3D8AE9CF-11A6-4709-B7E1-28958F68C423}" dt="2023-07-10T20:21:54.322" v="6738" actId="962"/>
          <ac:spMkLst>
            <pc:docMk/>
            <pc:sldMk cId="3259736002" sldId="297"/>
            <ac:spMk id="6" creationId="{0038D609-7001-4947-92BB-A379E0414168}"/>
          </ac:spMkLst>
        </pc:spChg>
        <pc:spChg chg="mod">
          <ac:chgData name="Nadkarni, Nikhil" userId="8cb4e2ce-db3a-48d0-bf6f-d5eb8967a6f9" providerId="ADAL" clId="{3D8AE9CF-11A6-4709-B7E1-28958F68C423}" dt="2023-07-10T19:32:48.886" v="4382" actId="20577"/>
          <ac:spMkLst>
            <pc:docMk/>
            <pc:sldMk cId="3259736002" sldId="297"/>
            <ac:spMk id="9" creationId="{BADF41E3-B302-4C05-B004-242B35D59BFB}"/>
          </ac:spMkLst>
        </pc:spChg>
      </pc:sldChg>
      <pc:sldChg chg="modSp mod">
        <pc:chgData name="Nadkarni, Nikhil" userId="8cb4e2ce-db3a-48d0-bf6f-d5eb8967a6f9" providerId="ADAL" clId="{3D8AE9CF-11A6-4709-B7E1-28958F68C423}" dt="2023-07-10T20:22:00.466" v="6742" actId="962"/>
        <pc:sldMkLst>
          <pc:docMk/>
          <pc:sldMk cId="3755849851" sldId="298"/>
        </pc:sldMkLst>
        <pc:spChg chg="mod">
          <ac:chgData name="Nadkarni, Nikhil" userId="8cb4e2ce-db3a-48d0-bf6f-d5eb8967a6f9" providerId="ADAL" clId="{3D8AE9CF-11A6-4709-B7E1-28958F68C423}" dt="2023-07-10T19:59:35.892" v="5638" actId="5793"/>
          <ac:spMkLst>
            <pc:docMk/>
            <pc:sldMk cId="3755849851" sldId="298"/>
            <ac:spMk id="3" creationId="{06AC962A-FABE-4F14-91E7-A91AD417ADFF}"/>
          </ac:spMkLst>
        </pc:spChg>
        <pc:spChg chg="mod">
          <ac:chgData name="Nadkarni, Nikhil" userId="8cb4e2ce-db3a-48d0-bf6f-d5eb8967a6f9" providerId="ADAL" clId="{3D8AE9CF-11A6-4709-B7E1-28958F68C423}" dt="2023-07-10T20:22:00.466" v="6742" actId="962"/>
          <ac:spMkLst>
            <pc:docMk/>
            <pc:sldMk cId="3755849851" sldId="298"/>
            <ac:spMk id="6" creationId="{0038D609-7001-4947-92BB-A379E0414168}"/>
          </ac:spMkLst>
        </pc:spChg>
        <pc:spChg chg="mod">
          <ac:chgData name="Nadkarni, Nikhil" userId="8cb4e2ce-db3a-48d0-bf6f-d5eb8967a6f9" providerId="ADAL" clId="{3D8AE9CF-11A6-4709-B7E1-28958F68C423}" dt="2023-07-10T19:59:39.326" v="5642" actId="20577"/>
          <ac:spMkLst>
            <pc:docMk/>
            <pc:sldMk cId="3755849851" sldId="298"/>
            <ac:spMk id="9" creationId="{BADF41E3-B302-4C05-B004-242B35D59BFB}"/>
          </ac:spMkLst>
        </pc:spChg>
      </pc:sldChg>
      <pc:sldChg chg="modSp mod addCm delCm">
        <pc:chgData name="Nadkarni, Nikhil" userId="8cb4e2ce-db3a-48d0-bf6f-d5eb8967a6f9" providerId="ADAL" clId="{3D8AE9CF-11A6-4709-B7E1-28958F68C423}" dt="2023-07-10T20:25:29.665" v="7865" actId="962"/>
        <pc:sldMkLst>
          <pc:docMk/>
          <pc:sldMk cId="343359655" sldId="300"/>
        </pc:sldMkLst>
        <pc:spChg chg="mod">
          <ac:chgData name="Nadkarni, Nikhil" userId="8cb4e2ce-db3a-48d0-bf6f-d5eb8967a6f9" providerId="ADAL" clId="{3D8AE9CF-11A6-4709-B7E1-28958F68C423}" dt="2023-07-10T19:59:02.493" v="5635" actId="1076"/>
          <ac:spMkLst>
            <pc:docMk/>
            <pc:sldMk cId="343359655" sldId="300"/>
            <ac:spMk id="2" creationId="{71ECDFDF-B56B-4C43-BBBF-D35CEE5E475F}"/>
          </ac:spMkLst>
        </pc:spChg>
        <pc:spChg chg="mod">
          <ac:chgData name="Nadkarni, Nikhil" userId="8cb4e2ce-db3a-48d0-bf6f-d5eb8967a6f9" providerId="ADAL" clId="{3D8AE9CF-11A6-4709-B7E1-28958F68C423}" dt="2023-07-10T20:00:54.702" v="5765" actId="20577"/>
          <ac:spMkLst>
            <pc:docMk/>
            <pc:sldMk cId="343359655" sldId="300"/>
            <ac:spMk id="3" creationId="{06AC962A-FABE-4F14-91E7-A91AD417ADFF}"/>
          </ac:spMkLst>
        </pc:spChg>
        <pc:spChg chg="mod">
          <ac:chgData name="Nadkarni, Nikhil" userId="8cb4e2ce-db3a-48d0-bf6f-d5eb8967a6f9" providerId="ADAL" clId="{3D8AE9CF-11A6-4709-B7E1-28958F68C423}" dt="2023-07-10T20:25:29.665" v="7865" actId="962"/>
          <ac:spMkLst>
            <pc:docMk/>
            <pc:sldMk cId="343359655" sldId="300"/>
            <ac:spMk id="6" creationId="{0038D609-7001-4947-92BB-A379E0414168}"/>
          </ac:spMkLst>
        </pc:spChg>
        <pc:spChg chg="mod">
          <ac:chgData name="Nadkarni, Nikhil" userId="8cb4e2ce-db3a-48d0-bf6f-d5eb8967a6f9" providerId="ADAL" clId="{3D8AE9CF-11A6-4709-B7E1-28958F68C423}" dt="2023-07-10T20:08:20.257" v="6499" actId="20577"/>
          <ac:spMkLst>
            <pc:docMk/>
            <pc:sldMk cId="343359655" sldId="300"/>
            <ac:spMk id="9" creationId="{BADF41E3-B302-4C05-B004-242B35D59BFB}"/>
          </ac:spMkLst>
        </pc:spChg>
        <pc:extLst>
          <p:ext xmlns:p="http://schemas.openxmlformats.org/presentationml/2006/main" uri="{D6D511B9-2390-475A-947B-AFAB55BFBCF1}">
            <pc226:cmChg xmlns:pc226="http://schemas.microsoft.com/office/powerpoint/2022/06/main/command" chg="add del">
              <pc226:chgData name="Nadkarni, Nikhil" userId="8cb4e2ce-db3a-48d0-bf6f-d5eb8967a6f9" providerId="ADAL" clId="{3D8AE9CF-11A6-4709-B7E1-28958F68C423}" dt="2023-07-10T16:44:53.966" v="982"/>
              <pc2:cmMkLst xmlns:pc2="http://schemas.microsoft.com/office/powerpoint/2019/9/main/command">
                <pc:docMk/>
                <pc:sldMk cId="343359655" sldId="300"/>
                <pc2:cmMk id="{41A9177B-FBF7-40B5-8F82-BABFC7505810}"/>
              </pc2:cmMkLst>
            </pc226:cmChg>
          </p:ext>
        </pc:extLst>
      </pc:sldChg>
      <pc:sldChg chg="addSp delSp modSp mod ord modCm">
        <pc:chgData name="Nadkarni, Nikhil" userId="8cb4e2ce-db3a-48d0-bf6f-d5eb8967a6f9" providerId="ADAL" clId="{3D8AE9CF-11A6-4709-B7E1-28958F68C423}" dt="2023-07-10T20:30:52.204" v="7951" actId="20577"/>
        <pc:sldMkLst>
          <pc:docMk/>
          <pc:sldMk cId="813981643" sldId="301"/>
        </pc:sldMkLst>
        <pc:spChg chg="del">
          <ac:chgData name="Nadkarni, Nikhil" userId="8cb4e2ce-db3a-48d0-bf6f-d5eb8967a6f9" providerId="ADAL" clId="{3D8AE9CF-11A6-4709-B7E1-28958F68C423}" dt="2023-07-10T16:55:17.200" v="1500" actId="478"/>
          <ac:spMkLst>
            <pc:docMk/>
            <pc:sldMk cId="813981643" sldId="301"/>
            <ac:spMk id="2" creationId="{71ECDFDF-B56B-4C43-BBBF-D35CEE5E475F}"/>
          </ac:spMkLst>
        </pc:spChg>
        <pc:spChg chg="mod">
          <ac:chgData name="Nadkarni, Nikhil" userId="8cb4e2ce-db3a-48d0-bf6f-d5eb8967a6f9" providerId="ADAL" clId="{3D8AE9CF-11A6-4709-B7E1-28958F68C423}" dt="2023-07-10T20:30:52.204" v="7951" actId="20577"/>
          <ac:spMkLst>
            <pc:docMk/>
            <pc:sldMk cId="813981643" sldId="301"/>
            <ac:spMk id="3" creationId="{06AC962A-FABE-4F14-91E7-A91AD417ADFF}"/>
          </ac:spMkLst>
        </pc:spChg>
        <pc:spChg chg="add del mod">
          <ac:chgData name="Nadkarni, Nikhil" userId="8cb4e2ce-db3a-48d0-bf6f-d5eb8967a6f9" providerId="ADAL" clId="{3D8AE9CF-11A6-4709-B7E1-28958F68C423}" dt="2023-07-10T16:55:20.894" v="1502" actId="478"/>
          <ac:spMkLst>
            <pc:docMk/>
            <pc:sldMk cId="813981643" sldId="301"/>
            <ac:spMk id="5" creationId="{23DA20E5-DB1C-7DF5-A550-9016408AA50B}"/>
          </ac:spMkLst>
        </pc:spChg>
        <pc:spChg chg="mod">
          <ac:chgData name="Nadkarni, Nikhil" userId="8cb4e2ce-db3a-48d0-bf6f-d5eb8967a6f9" providerId="ADAL" clId="{3D8AE9CF-11A6-4709-B7E1-28958F68C423}" dt="2023-07-10T20:21:57.241" v="6740" actId="962"/>
          <ac:spMkLst>
            <pc:docMk/>
            <pc:sldMk cId="813981643" sldId="301"/>
            <ac:spMk id="6" creationId="{0038D609-7001-4947-92BB-A379E0414168}"/>
          </ac:spMkLst>
        </pc:spChg>
        <pc:spChg chg="add mod">
          <ac:chgData name="Nadkarni, Nikhil" userId="8cb4e2ce-db3a-48d0-bf6f-d5eb8967a6f9" providerId="ADAL" clId="{3D8AE9CF-11A6-4709-B7E1-28958F68C423}" dt="2023-07-10T20:19:18.427" v="6539" actId="33553"/>
          <ac:spMkLst>
            <pc:docMk/>
            <pc:sldMk cId="813981643" sldId="301"/>
            <ac:spMk id="7" creationId="{E51C2173-2F81-6980-F1ED-A887E798F795}"/>
          </ac:spMkLst>
        </pc:spChg>
        <pc:spChg chg="mod">
          <ac:chgData name="Nadkarni, Nikhil" userId="8cb4e2ce-db3a-48d0-bf6f-d5eb8967a6f9" providerId="ADAL" clId="{3D8AE9CF-11A6-4709-B7E1-28958F68C423}" dt="2023-07-10T19:32:52.645" v="4386" actId="20577"/>
          <ac:spMkLst>
            <pc:docMk/>
            <pc:sldMk cId="813981643" sldId="301"/>
            <ac:spMk id="9" creationId="{BADF41E3-B302-4C05-B004-242B35D59BFB}"/>
          </ac:spMkLst>
        </pc:spChg>
        <pc:extLst>
          <p:ext xmlns:p="http://schemas.openxmlformats.org/presentationml/2006/main" uri="{D6D511B9-2390-475A-947B-AFAB55BFBCF1}">
            <pc226:cmChg xmlns:pc226="http://schemas.microsoft.com/office/powerpoint/2022/06/main/command" chg="">
              <pc226:chgData name="Nadkarni, Nikhil" userId="8cb4e2ce-db3a-48d0-bf6f-d5eb8967a6f9" providerId="ADAL" clId="{3D8AE9CF-11A6-4709-B7E1-28958F68C423}" dt="2023-07-07T17:45:31.052" v="191"/>
              <pc2:cmMkLst xmlns:pc2="http://schemas.microsoft.com/office/powerpoint/2019/9/main/command">
                <pc:docMk/>
                <pc:sldMk cId="813981643" sldId="301"/>
                <pc2:cmMk id="{2524FC28-B0DE-4EBD-B50F-DFD147B4412B}"/>
              </pc2:cmMkLst>
              <pc226:cmRplyChg chg="add">
                <pc226:chgData name="Nadkarni, Nikhil" userId="8cb4e2ce-db3a-48d0-bf6f-d5eb8967a6f9" providerId="ADAL" clId="{3D8AE9CF-11A6-4709-B7E1-28958F68C423}" dt="2023-07-07T17:45:31.052" v="191"/>
                <pc2:cmRplyMkLst xmlns:pc2="http://schemas.microsoft.com/office/powerpoint/2019/9/main/command">
                  <pc:docMk/>
                  <pc:sldMk cId="813981643" sldId="301"/>
                  <pc2:cmMk id="{2524FC28-B0DE-4EBD-B50F-DFD147B4412B}"/>
                  <pc2:cmRplyMk id="{AED21DE3-0DDA-4C54-99B4-F411B38C838E}"/>
                </pc2:cmRplyMkLst>
              </pc226:cmRplyChg>
            </pc226:cmChg>
          </p:ext>
        </pc:extLst>
      </pc:sldChg>
      <pc:sldChg chg="modSp mod">
        <pc:chgData name="Nadkarni, Nikhil" userId="8cb4e2ce-db3a-48d0-bf6f-d5eb8967a6f9" providerId="ADAL" clId="{3D8AE9CF-11A6-4709-B7E1-28958F68C423}" dt="2023-07-10T20:21:11.677" v="6668" actId="962"/>
        <pc:sldMkLst>
          <pc:docMk/>
          <pc:sldMk cId="780403188" sldId="302"/>
        </pc:sldMkLst>
        <pc:spChg chg="mod">
          <ac:chgData name="Nadkarni, Nikhil" userId="8cb4e2ce-db3a-48d0-bf6f-d5eb8967a6f9" providerId="ADAL" clId="{3D8AE9CF-11A6-4709-B7E1-28958F68C423}" dt="2023-07-10T17:08:48.025" v="2330" actId="5793"/>
          <ac:spMkLst>
            <pc:docMk/>
            <pc:sldMk cId="780403188" sldId="302"/>
            <ac:spMk id="3" creationId="{06AC962A-FABE-4F14-91E7-A91AD417ADFF}"/>
          </ac:spMkLst>
        </pc:spChg>
        <pc:spChg chg="mod">
          <ac:chgData name="Nadkarni, Nikhil" userId="8cb4e2ce-db3a-48d0-bf6f-d5eb8967a6f9" providerId="ADAL" clId="{3D8AE9CF-11A6-4709-B7E1-28958F68C423}" dt="2023-07-10T20:21:11.677" v="6668" actId="962"/>
          <ac:spMkLst>
            <pc:docMk/>
            <pc:sldMk cId="780403188" sldId="302"/>
            <ac:spMk id="6" creationId="{0038D609-7001-4947-92BB-A379E0414168}"/>
          </ac:spMkLst>
        </pc:spChg>
      </pc:sldChg>
      <pc:sldChg chg="addSp delSp modSp mod">
        <pc:chgData name="Nadkarni, Nikhil" userId="8cb4e2ce-db3a-48d0-bf6f-d5eb8967a6f9" providerId="ADAL" clId="{3D8AE9CF-11A6-4709-B7E1-28958F68C423}" dt="2023-07-10T20:23:06.527" v="7154" actId="962"/>
        <pc:sldMkLst>
          <pc:docMk/>
          <pc:sldMk cId="1650613911" sldId="303"/>
        </pc:sldMkLst>
        <pc:spChg chg="mod">
          <ac:chgData name="Nadkarni, Nikhil" userId="8cb4e2ce-db3a-48d0-bf6f-d5eb8967a6f9" providerId="ADAL" clId="{3D8AE9CF-11A6-4709-B7E1-28958F68C423}" dt="2023-07-10T17:52:58.742" v="3055" actId="1076"/>
          <ac:spMkLst>
            <pc:docMk/>
            <pc:sldMk cId="1650613911" sldId="303"/>
            <ac:spMk id="2" creationId="{71ECDFDF-B56B-4C43-BBBF-D35CEE5E475F}"/>
          </ac:spMkLst>
        </pc:spChg>
        <pc:spChg chg="add mod">
          <ac:chgData name="Nadkarni, Nikhil" userId="8cb4e2ce-db3a-48d0-bf6f-d5eb8967a6f9" providerId="ADAL" clId="{3D8AE9CF-11A6-4709-B7E1-28958F68C423}" dt="2023-07-10T17:52:48.298" v="3053"/>
          <ac:spMkLst>
            <pc:docMk/>
            <pc:sldMk cId="1650613911" sldId="303"/>
            <ac:spMk id="4" creationId="{39CAB15A-E557-E834-FDBF-E6E97286C4B5}"/>
          </ac:spMkLst>
        </pc:spChg>
        <pc:spChg chg="add mod">
          <ac:chgData name="Nadkarni, Nikhil" userId="8cb4e2ce-db3a-48d0-bf6f-d5eb8967a6f9" providerId="ADAL" clId="{3D8AE9CF-11A6-4709-B7E1-28958F68C423}" dt="2023-07-10T17:52:48.298" v="3053"/>
          <ac:spMkLst>
            <pc:docMk/>
            <pc:sldMk cId="1650613911" sldId="303"/>
            <ac:spMk id="5" creationId="{1C6C5C92-375C-84E1-8E94-D2AF9314A37B}"/>
          </ac:spMkLst>
        </pc:spChg>
        <pc:spChg chg="mod">
          <ac:chgData name="Nadkarni, Nikhil" userId="8cb4e2ce-db3a-48d0-bf6f-d5eb8967a6f9" providerId="ADAL" clId="{3D8AE9CF-11A6-4709-B7E1-28958F68C423}" dt="2023-07-10T20:21:17.379" v="6671" actId="962"/>
          <ac:spMkLst>
            <pc:docMk/>
            <pc:sldMk cId="1650613911" sldId="303"/>
            <ac:spMk id="6" creationId="{0038D609-7001-4947-92BB-A379E0414168}"/>
          </ac:spMkLst>
        </pc:spChg>
        <pc:spChg chg="add mod">
          <ac:chgData name="Nadkarni, Nikhil" userId="8cb4e2ce-db3a-48d0-bf6f-d5eb8967a6f9" providerId="ADAL" clId="{3D8AE9CF-11A6-4709-B7E1-28958F68C423}" dt="2023-07-10T17:52:48.298" v="3053"/>
          <ac:spMkLst>
            <pc:docMk/>
            <pc:sldMk cId="1650613911" sldId="303"/>
            <ac:spMk id="10" creationId="{B294FC7F-3055-723D-D8CB-28DFC3D1DD68}"/>
          </ac:spMkLst>
        </pc:spChg>
        <pc:spChg chg="mod">
          <ac:chgData name="Nadkarni, Nikhil" userId="8cb4e2ce-db3a-48d0-bf6f-d5eb8967a6f9" providerId="ADAL" clId="{3D8AE9CF-11A6-4709-B7E1-28958F68C423}" dt="2023-07-10T17:52:54.208" v="3054" actId="14100"/>
          <ac:spMkLst>
            <pc:docMk/>
            <pc:sldMk cId="1650613911" sldId="303"/>
            <ac:spMk id="11" creationId="{80375151-8B20-3D8C-FEBF-EF4330089FFA}"/>
          </ac:spMkLst>
        </pc:spChg>
        <pc:graphicFrameChg chg="add mod">
          <ac:chgData name="Nadkarni, Nikhil" userId="8cb4e2ce-db3a-48d0-bf6f-d5eb8967a6f9" providerId="ADAL" clId="{3D8AE9CF-11A6-4709-B7E1-28958F68C423}" dt="2023-07-10T20:23:06.527" v="7154" actId="962"/>
          <ac:graphicFrameMkLst>
            <pc:docMk/>
            <pc:sldMk cId="1650613911" sldId="303"/>
            <ac:graphicFrameMk id="3" creationId="{4D729383-A3E2-ABBC-94AE-375541A950E8}"/>
          </ac:graphicFrameMkLst>
        </pc:graphicFrameChg>
        <pc:picChg chg="del mod">
          <ac:chgData name="Nadkarni, Nikhil" userId="8cb4e2ce-db3a-48d0-bf6f-d5eb8967a6f9" providerId="ADAL" clId="{3D8AE9CF-11A6-4709-B7E1-28958F68C423}" dt="2023-07-10T17:52:47.928" v="3052" actId="478"/>
          <ac:picMkLst>
            <pc:docMk/>
            <pc:sldMk cId="1650613911" sldId="303"/>
            <ac:picMk id="7" creationId="{5DB52DC8-48BD-AB73-3C85-3BDA5B7DF1DB}"/>
          </ac:picMkLst>
        </pc:picChg>
      </pc:sldChg>
      <pc:sldChg chg="modSp mod">
        <pc:chgData name="Nadkarni, Nikhil" userId="8cb4e2ce-db3a-48d0-bf6f-d5eb8967a6f9" providerId="ADAL" clId="{3D8AE9CF-11A6-4709-B7E1-28958F68C423}" dt="2023-07-10T20:23:14.175" v="7194" actId="962"/>
        <pc:sldMkLst>
          <pc:docMk/>
          <pc:sldMk cId="1054884385" sldId="304"/>
        </pc:sldMkLst>
        <pc:spChg chg="mod">
          <ac:chgData name="Nadkarni, Nikhil" userId="8cb4e2ce-db3a-48d0-bf6f-d5eb8967a6f9" providerId="ADAL" clId="{3D8AE9CF-11A6-4709-B7E1-28958F68C423}" dt="2023-07-10T17:13:48.622" v="2521" actId="1076"/>
          <ac:spMkLst>
            <pc:docMk/>
            <pc:sldMk cId="1054884385" sldId="304"/>
            <ac:spMk id="2" creationId="{71ECDFDF-B56B-4C43-BBBF-D35CEE5E475F}"/>
          </ac:spMkLst>
        </pc:spChg>
        <pc:spChg chg="mod">
          <ac:chgData name="Nadkarni, Nikhil" userId="8cb4e2ce-db3a-48d0-bf6f-d5eb8967a6f9" providerId="ADAL" clId="{3D8AE9CF-11A6-4709-B7E1-28958F68C423}" dt="2023-07-10T17:53:38.889" v="3108" actId="20577"/>
          <ac:spMkLst>
            <pc:docMk/>
            <pc:sldMk cId="1054884385" sldId="304"/>
            <ac:spMk id="4" creationId="{DC0520D7-75CC-508B-69FB-965CE40BDC11}"/>
          </ac:spMkLst>
        </pc:spChg>
        <pc:spChg chg="mod">
          <ac:chgData name="Nadkarni, Nikhil" userId="8cb4e2ce-db3a-48d0-bf6f-d5eb8967a6f9" providerId="ADAL" clId="{3D8AE9CF-11A6-4709-B7E1-28958F68C423}" dt="2023-07-10T20:21:19.022" v="6672" actId="962"/>
          <ac:spMkLst>
            <pc:docMk/>
            <pc:sldMk cId="1054884385" sldId="304"/>
            <ac:spMk id="6" creationId="{0038D609-7001-4947-92BB-A379E0414168}"/>
          </ac:spMkLst>
        </pc:spChg>
        <pc:spChg chg="mod">
          <ac:chgData name="Nadkarni, Nikhil" userId="8cb4e2ce-db3a-48d0-bf6f-d5eb8967a6f9" providerId="ADAL" clId="{3D8AE9CF-11A6-4709-B7E1-28958F68C423}" dt="2023-07-10T17:53:47.431" v="3112" actId="20577"/>
          <ac:spMkLst>
            <pc:docMk/>
            <pc:sldMk cId="1054884385" sldId="304"/>
            <ac:spMk id="9" creationId="{BADF41E3-B302-4C05-B004-242B35D59BFB}"/>
          </ac:spMkLst>
        </pc:spChg>
        <pc:picChg chg="mod">
          <ac:chgData name="Nadkarni, Nikhil" userId="8cb4e2ce-db3a-48d0-bf6f-d5eb8967a6f9" providerId="ADAL" clId="{3D8AE9CF-11A6-4709-B7E1-28958F68C423}" dt="2023-07-10T20:23:14.175" v="7194" actId="962"/>
          <ac:picMkLst>
            <pc:docMk/>
            <pc:sldMk cId="1054884385" sldId="304"/>
            <ac:picMk id="3" creationId="{FAE45911-6294-4543-5D47-8CC65D76669B}"/>
          </ac:picMkLst>
        </pc:picChg>
      </pc:sldChg>
      <pc:sldChg chg="modSp mod">
        <pc:chgData name="Nadkarni, Nikhil" userId="8cb4e2ce-db3a-48d0-bf6f-d5eb8967a6f9" providerId="ADAL" clId="{3D8AE9CF-11A6-4709-B7E1-28958F68C423}" dt="2023-07-10T20:23:36.333" v="7278" actId="962"/>
        <pc:sldMkLst>
          <pc:docMk/>
          <pc:sldMk cId="156447753" sldId="305"/>
        </pc:sldMkLst>
        <pc:spChg chg="mod">
          <ac:chgData name="Nadkarni, Nikhil" userId="8cb4e2ce-db3a-48d0-bf6f-d5eb8967a6f9" providerId="ADAL" clId="{3D8AE9CF-11A6-4709-B7E1-28958F68C423}" dt="2023-07-10T17:54:24.174" v="3210" actId="403"/>
          <ac:spMkLst>
            <pc:docMk/>
            <pc:sldMk cId="156447753" sldId="305"/>
            <ac:spMk id="2" creationId="{71ECDFDF-B56B-4C43-BBBF-D35CEE5E475F}"/>
          </ac:spMkLst>
        </pc:spChg>
        <pc:spChg chg="mod">
          <ac:chgData name="Nadkarni, Nikhil" userId="8cb4e2ce-db3a-48d0-bf6f-d5eb8967a6f9" providerId="ADAL" clId="{3D8AE9CF-11A6-4709-B7E1-28958F68C423}" dt="2023-07-10T20:21:20.603" v="6673" actId="962"/>
          <ac:spMkLst>
            <pc:docMk/>
            <pc:sldMk cId="156447753" sldId="305"/>
            <ac:spMk id="6" creationId="{0038D609-7001-4947-92BB-A379E0414168}"/>
          </ac:spMkLst>
        </pc:spChg>
        <pc:spChg chg="mod">
          <ac:chgData name="Nadkarni, Nikhil" userId="8cb4e2ce-db3a-48d0-bf6f-d5eb8967a6f9" providerId="ADAL" clId="{3D8AE9CF-11A6-4709-B7E1-28958F68C423}" dt="2023-07-10T17:54:30.153" v="3215" actId="20577"/>
          <ac:spMkLst>
            <pc:docMk/>
            <pc:sldMk cId="156447753" sldId="305"/>
            <ac:spMk id="9" creationId="{BADF41E3-B302-4C05-B004-242B35D59BFB}"/>
          </ac:spMkLst>
        </pc:spChg>
        <pc:picChg chg="mod">
          <ac:chgData name="Nadkarni, Nikhil" userId="8cb4e2ce-db3a-48d0-bf6f-d5eb8967a6f9" providerId="ADAL" clId="{3D8AE9CF-11A6-4709-B7E1-28958F68C423}" dt="2023-07-10T20:23:36.333" v="7278" actId="962"/>
          <ac:picMkLst>
            <pc:docMk/>
            <pc:sldMk cId="156447753" sldId="305"/>
            <ac:picMk id="50" creationId="{A1F8D0D6-16E7-918C-6278-B9522CE6D9E9}"/>
          </ac:picMkLst>
        </pc:picChg>
      </pc:sldChg>
      <pc:sldChg chg="del">
        <pc:chgData name="Nadkarni, Nikhil" userId="8cb4e2ce-db3a-48d0-bf6f-d5eb8967a6f9" providerId="ADAL" clId="{3D8AE9CF-11A6-4709-B7E1-28958F68C423}" dt="2023-07-10T17:55:00.341" v="3219" actId="47"/>
        <pc:sldMkLst>
          <pc:docMk/>
          <pc:sldMk cId="2315025724" sldId="306"/>
        </pc:sldMkLst>
      </pc:sldChg>
      <pc:sldChg chg="addSp delSp modSp mod">
        <pc:chgData name="Nadkarni, Nikhil" userId="8cb4e2ce-db3a-48d0-bf6f-d5eb8967a6f9" providerId="ADAL" clId="{3D8AE9CF-11A6-4709-B7E1-28958F68C423}" dt="2023-07-10T20:24:16.547" v="7458" actId="962"/>
        <pc:sldMkLst>
          <pc:docMk/>
          <pc:sldMk cId="1936964873" sldId="307"/>
        </pc:sldMkLst>
        <pc:spChg chg="mod">
          <ac:chgData name="Nadkarni, Nikhil" userId="8cb4e2ce-db3a-48d0-bf6f-d5eb8967a6f9" providerId="ADAL" clId="{3D8AE9CF-11A6-4709-B7E1-28958F68C423}" dt="2023-07-10T19:04:56.557" v="3407" actId="1076"/>
          <ac:spMkLst>
            <pc:docMk/>
            <pc:sldMk cId="1936964873" sldId="307"/>
            <ac:spMk id="2" creationId="{71ECDFDF-B56B-4C43-BBBF-D35CEE5E475F}"/>
          </ac:spMkLst>
        </pc:spChg>
        <pc:spChg chg="mod">
          <ac:chgData name="Nadkarni, Nikhil" userId="8cb4e2ce-db3a-48d0-bf6f-d5eb8967a6f9" providerId="ADAL" clId="{3D8AE9CF-11A6-4709-B7E1-28958F68C423}" dt="2023-07-10T19:14:31.376" v="3725" actId="20577"/>
          <ac:spMkLst>
            <pc:docMk/>
            <pc:sldMk cId="1936964873" sldId="307"/>
            <ac:spMk id="3" creationId="{06AC962A-FABE-4F14-91E7-A91AD417ADFF}"/>
          </ac:spMkLst>
        </pc:spChg>
        <pc:spChg chg="mod">
          <ac:chgData name="Nadkarni, Nikhil" userId="8cb4e2ce-db3a-48d0-bf6f-d5eb8967a6f9" providerId="ADAL" clId="{3D8AE9CF-11A6-4709-B7E1-28958F68C423}" dt="2023-07-10T20:22:17.586" v="6750" actId="962"/>
          <ac:spMkLst>
            <pc:docMk/>
            <pc:sldMk cId="1936964873" sldId="307"/>
            <ac:spMk id="6" creationId="{0038D609-7001-4947-92BB-A379E0414168}"/>
          </ac:spMkLst>
        </pc:spChg>
        <pc:spChg chg="mod">
          <ac:chgData name="Nadkarni, Nikhil" userId="8cb4e2ce-db3a-48d0-bf6f-d5eb8967a6f9" providerId="ADAL" clId="{3D8AE9CF-11A6-4709-B7E1-28958F68C423}" dt="2023-07-10T19:07:32.351" v="3512" actId="20577"/>
          <ac:spMkLst>
            <pc:docMk/>
            <pc:sldMk cId="1936964873" sldId="307"/>
            <ac:spMk id="9" creationId="{BADF41E3-B302-4C05-B004-242B35D59BFB}"/>
          </ac:spMkLst>
        </pc:spChg>
        <pc:picChg chg="add del mod">
          <ac:chgData name="Nadkarni, Nikhil" userId="8cb4e2ce-db3a-48d0-bf6f-d5eb8967a6f9" providerId="ADAL" clId="{3D8AE9CF-11A6-4709-B7E1-28958F68C423}" dt="2023-07-10T19:09:37.275" v="3645" actId="478"/>
          <ac:picMkLst>
            <pc:docMk/>
            <pc:sldMk cId="1936964873" sldId="307"/>
            <ac:picMk id="5" creationId="{5BA58F11-F945-3CA1-B968-9BC0A0E02431}"/>
          </ac:picMkLst>
        </pc:picChg>
        <pc:picChg chg="add del mod">
          <ac:chgData name="Nadkarni, Nikhil" userId="8cb4e2ce-db3a-48d0-bf6f-d5eb8967a6f9" providerId="ADAL" clId="{3D8AE9CF-11A6-4709-B7E1-28958F68C423}" dt="2023-07-10T19:10:31.355" v="3651" actId="478"/>
          <ac:picMkLst>
            <pc:docMk/>
            <pc:sldMk cId="1936964873" sldId="307"/>
            <ac:picMk id="7" creationId="{BD4A3E9F-07AB-8736-8892-147353617FF1}"/>
          </ac:picMkLst>
        </pc:picChg>
        <pc:picChg chg="del">
          <ac:chgData name="Nadkarni, Nikhil" userId="8cb4e2ce-db3a-48d0-bf6f-d5eb8967a6f9" providerId="ADAL" clId="{3D8AE9CF-11A6-4709-B7E1-28958F68C423}" dt="2023-07-10T19:09:36.171" v="3643" actId="478"/>
          <ac:picMkLst>
            <pc:docMk/>
            <pc:sldMk cId="1936964873" sldId="307"/>
            <ac:picMk id="10" creationId="{7DE6C690-F5FC-D904-1697-C4789E2EBE23}"/>
          </ac:picMkLst>
        </pc:picChg>
        <pc:picChg chg="add del mod">
          <ac:chgData name="Nadkarni, Nikhil" userId="8cb4e2ce-db3a-48d0-bf6f-d5eb8967a6f9" providerId="ADAL" clId="{3D8AE9CF-11A6-4709-B7E1-28958F68C423}" dt="2023-07-10T19:14:12.901" v="3676" actId="21"/>
          <ac:picMkLst>
            <pc:docMk/>
            <pc:sldMk cId="1936964873" sldId="307"/>
            <ac:picMk id="12" creationId="{10D0B3D8-B919-3303-1AF9-EBE89B73B546}"/>
          </ac:picMkLst>
        </pc:picChg>
        <pc:picChg chg="del">
          <ac:chgData name="Nadkarni, Nikhil" userId="8cb4e2ce-db3a-48d0-bf6f-d5eb8967a6f9" providerId="ADAL" clId="{3D8AE9CF-11A6-4709-B7E1-28958F68C423}" dt="2023-07-10T16:53:26.075" v="1436" actId="478"/>
          <ac:picMkLst>
            <pc:docMk/>
            <pc:sldMk cId="1936964873" sldId="307"/>
            <ac:picMk id="12" creationId="{803BE485-9682-5C11-1731-755051086CDE}"/>
          </ac:picMkLst>
        </pc:picChg>
        <pc:picChg chg="add del mod">
          <ac:chgData name="Nadkarni, Nikhil" userId="8cb4e2ce-db3a-48d0-bf6f-d5eb8967a6f9" providerId="ADAL" clId="{3D8AE9CF-11A6-4709-B7E1-28958F68C423}" dt="2023-07-10T19:14:06.985" v="3674"/>
          <ac:picMkLst>
            <pc:docMk/>
            <pc:sldMk cId="1936964873" sldId="307"/>
            <ac:picMk id="13" creationId="{40152D77-BE39-3662-F7CE-495BAD585A09}"/>
          </ac:picMkLst>
        </pc:picChg>
        <pc:picChg chg="add del mod">
          <ac:chgData name="Nadkarni, Nikhil" userId="8cb4e2ce-db3a-48d0-bf6f-d5eb8967a6f9" providerId="ADAL" clId="{3D8AE9CF-11A6-4709-B7E1-28958F68C423}" dt="2023-07-10T19:14:06.985" v="3674"/>
          <ac:picMkLst>
            <pc:docMk/>
            <pc:sldMk cId="1936964873" sldId="307"/>
            <ac:picMk id="14" creationId="{AB7B216B-B7D9-BD5D-F1E1-0C44C36085FA}"/>
          </ac:picMkLst>
        </pc:picChg>
        <pc:picChg chg="add del mod">
          <ac:chgData name="Nadkarni, Nikhil" userId="8cb4e2ce-db3a-48d0-bf6f-d5eb8967a6f9" providerId="ADAL" clId="{3D8AE9CF-11A6-4709-B7E1-28958F68C423}" dt="2023-07-10T19:14:06.985" v="3674"/>
          <ac:picMkLst>
            <pc:docMk/>
            <pc:sldMk cId="1936964873" sldId="307"/>
            <ac:picMk id="15" creationId="{4BFB012A-FF9B-7B83-A6D9-7B73B521CA9C}"/>
          </ac:picMkLst>
        </pc:picChg>
        <pc:picChg chg="del">
          <ac:chgData name="Nadkarni, Nikhil" userId="8cb4e2ce-db3a-48d0-bf6f-d5eb8967a6f9" providerId="ADAL" clId="{3D8AE9CF-11A6-4709-B7E1-28958F68C423}" dt="2023-07-10T19:09:36.875" v="3644" actId="478"/>
          <ac:picMkLst>
            <pc:docMk/>
            <pc:sldMk cId="1936964873" sldId="307"/>
            <ac:picMk id="16" creationId="{91F5EBE7-E239-A197-1C89-9368475D70B7}"/>
          </ac:picMkLst>
        </pc:picChg>
        <pc:picChg chg="add mod">
          <ac:chgData name="Nadkarni, Nikhil" userId="8cb4e2ce-db3a-48d0-bf6f-d5eb8967a6f9" providerId="ADAL" clId="{3D8AE9CF-11A6-4709-B7E1-28958F68C423}" dt="2023-07-10T20:23:59.630" v="7346" actId="962"/>
          <ac:picMkLst>
            <pc:docMk/>
            <pc:sldMk cId="1936964873" sldId="307"/>
            <ac:picMk id="17" creationId="{3C681B0C-2B64-6E7B-C0E0-5ADEFA510BDC}"/>
          </ac:picMkLst>
        </pc:picChg>
        <pc:picChg chg="add mod">
          <ac:chgData name="Nadkarni, Nikhil" userId="8cb4e2ce-db3a-48d0-bf6f-d5eb8967a6f9" providerId="ADAL" clId="{3D8AE9CF-11A6-4709-B7E1-28958F68C423}" dt="2023-07-10T20:24:06.381" v="7398" actId="962"/>
          <ac:picMkLst>
            <pc:docMk/>
            <pc:sldMk cId="1936964873" sldId="307"/>
            <ac:picMk id="18" creationId="{75153018-04CD-37B5-8939-34730B5E95F1}"/>
          </ac:picMkLst>
        </pc:picChg>
        <pc:picChg chg="add del mod">
          <ac:chgData name="Nadkarni, Nikhil" userId="8cb4e2ce-db3a-48d0-bf6f-d5eb8967a6f9" providerId="ADAL" clId="{3D8AE9CF-11A6-4709-B7E1-28958F68C423}" dt="2023-07-10T19:14:38.214" v="3726" actId="21"/>
          <ac:picMkLst>
            <pc:docMk/>
            <pc:sldMk cId="1936964873" sldId="307"/>
            <ac:picMk id="19" creationId="{5014FD3F-28F9-D7E2-EDCE-052E1384B7E8}"/>
          </ac:picMkLst>
        </pc:picChg>
        <pc:picChg chg="add mod ord">
          <ac:chgData name="Nadkarni, Nikhil" userId="8cb4e2ce-db3a-48d0-bf6f-d5eb8967a6f9" providerId="ADAL" clId="{3D8AE9CF-11A6-4709-B7E1-28958F68C423}" dt="2023-07-10T20:24:16.547" v="7458" actId="962"/>
          <ac:picMkLst>
            <pc:docMk/>
            <pc:sldMk cId="1936964873" sldId="307"/>
            <ac:picMk id="21" creationId="{B280E497-EB8D-C881-CA0B-61D000E7EDF7}"/>
          </ac:picMkLst>
        </pc:picChg>
      </pc:sldChg>
      <pc:sldChg chg="modSp mod ord addCm">
        <pc:chgData name="Nadkarni, Nikhil" userId="8cb4e2ce-db3a-48d0-bf6f-d5eb8967a6f9" providerId="ADAL" clId="{3D8AE9CF-11A6-4709-B7E1-28958F68C423}" dt="2023-07-10T20:22:16.080" v="6749" actId="962"/>
        <pc:sldMkLst>
          <pc:docMk/>
          <pc:sldMk cId="2338493111" sldId="308"/>
        </pc:sldMkLst>
        <pc:spChg chg="mod">
          <ac:chgData name="Nadkarni, Nikhil" userId="8cb4e2ce-db3a-48d0-bf6f-d5eb8967a6f9" providerId="ADAL" clId="{3D8AE9CF-11A6-4709-B7E1-28958F68C423}" dt="2023-07-10T17:59:35.764" v="3304" actId="20577"/>
          <ac:spMkLst>
            <pc:docMk/>
            <pc:sldMk cId="2338493111" sldId="308"/>
            <ac:spMk id="2" creationId="{71ECDFDF-B56B-4C43-BBBF-D35CEE5E475F}"/>
          </ac:spMkLst>
        </pc:spChg>
        <pc:spChg chg="mod">
          <ac:chgData name="Nadkarni, Nikhil" userId="8cb4e2ce-db3a-48d0-bf6f-d5eb8967a6f9" providerId="ADAL" clId="{3D8AE9CF-11A6-4709-B7E1-28958F68C423}" dt="2023-07-10T19:07:16.941" v="3504" actId="20577"/>
          <ac:spMkLst>
            <pc:docMk/>
            <pc:sldMk cId="2338493111" sldId="308"/>
            <ac:spMk id="3" creationId="{06AC962A-FABE-4F14-91E7-A91AD417ADFF}"/>
          </ac:spMkLst>
        </pc:spChg>
        <pc:spChg chg="mod">
          <ac:chgData name="Nadkarni, Nikhil" userId="8cb4e2ce-db3a-48d0-bf6f-d5eb8967a6f9" providerId="ADAL" clId="{3D8AE9CF-11A6-4709-B7E1-28958F68C423}" dt="2023-07-10T20:22:16.080" v="6749" actId="962"/>
          <ac:spMkLst>
            <pc:docMk/>
            <pc:sldMk cId="2338493111" sldId="308"/>
            <ac:spMk id="6" creationId="{0038D609-7001-4947-92BB-A379E0414168}"/>
          </ac:spMkLst>
        </pc:spChg>
        <pc:spChg chg="mod">
          <ac:chgData name="Nadkarni, Nikhil" userId="8cb4e2ce-db3a-48d0-bf6f-d5eb8967a6f9" providerId="ADAL" clId="{3D8AE9CF-11A6-4709-B7E1-28958F68C423}" dt="2023-07-10T19:07:27.822" v="3508" actId="20577"/>
          <ac:spMkLst>
            <pc:docMk/>
            <pc:sldMk cId="2338493111" sldId="308"/>
            <ac:spMk id="9" creationId="{BADF41E3-B302-4C05-B004-242B35D59BFB}"/>
          </ac:spMkLst>
        </pc:spChg>
        <pc:extLst>
          <p:ext xmlns:p="http://schemas.openxmlformats.org/presentationml/2006/main" uri="{D6D511B9-2390-475A-947B-AFAB55BFBCF1}">
            <pc226:cmChg xmlns:pc226="http://schemas.microsoft.com/office/powerpoint/2022/06/main/command" chg="add">
              <pc226:chgData name="Nadkarni, Nikhil" userId="8cb4e2ce-db3a-48d0-bf6f-d5eb8967a6f9" providerId="ADAL" clId="{3D8AE9CF-11A6-4709-B7E1-28958F68C423}" dt="2023-07-07T17:41:04.723" v="14"/>
              <pc2:cmMkLst xmlns:pc2="http://schemas.microsoft.com/office/powerpoint/2019/9/main/command">
                <pc:docMk/>
                <pc:sldMk cId="2338493111" sldId="308"/>
                <pc2:cmMk id="{04F58FA7-7559-47E9-805C-3A35D8504660}"/>
              </pc2:cmMkLst>
            </pc226:cmChg>
          </p:ext>
        </pc:extLst>
      </pc:sldChg>
      <pc:sldChg chg="addSp delSp modSp mod modCm">
        <pc:chgData name="Nadkarni, Nikhil" userId="8cb4e2ce-db3a-48d0-bf6f-d5eb8967a6f9" providerId="ADAL" clId="{3D8AE9CF-11A6-4709-B7E1-28958F68C423}" dt="2023-07-10T20:21:07.890" v="6666" actId="962"/>
        <pc:sldMkLst>
          <pc:docMk/>
          <pc:sldMk cId="1963271544" sldId="1132"/>
        </pc:sldMkLst>
        <pc:spChg chg="add mod">
          <ac:chgData name="Nadkarni, Nikhil" userId="8cb4e2ce-db3a-48d0-bf6f-d5eb8967a6f9" providerId="ADAL" clId="{3D8AE9CF-11A6-4709-B7E1-28958F68C423}" dt="2023-07-10T16:05:23.330" v="436" actId="27636"/>
          <ac:spMkLst>
            <pc:docMk/>
            <pc:sldMk cId="1963271544" sldId="1132"/>
            <ac:spMk id="2" creationId="{5B1EE775-0DD9-9523-89D7-58F9EA9BC236}"/>
          </ac:spMkLst>
        </pc:spChg>
        <pc:spChg chg="del">
          <ac:chgData name="Nadkarni, Nikhil" userId="8cb4e2ce-db3a-48d0-bf6f-d5eb8967a6f9" providerId="ADAL" clId="{3D8AE9CF-11A6-4709-B7E1-28958F68C423}" dt="2023-07-10T16:03:21.177" v="398" actId="478"/>
          <ac:spMkLst>
            <pc:docMk/>
            <pc:sldMk cId="1963271544" sldId="1132"/>
            <ac:spMk id="3" creationId="{5759D7FB-62D6-BB6F-C5C9-3B1CCCF65691}"/>
          </ac:spMkLst>
        </pc:spChg>
        <pc:spChg chg="add mod">
          <ac:chgData name="Nadkarni, Nikhil" userId="8cb4e2ce-db3a-48d0-bf6f-d5eb8967a6f9" providerId="ADAL" clId="{3D8AE9CF-11A6-4709-B7E1-28958F68C423}" dt="2023-07-10T20:19:11.551" v="6536" actId="33553"/>
          <ac:spMkLst>
            <pc:docMk/>
            <pc:sldMk cId="1963271544" sldId="1132"/>
            <ac:spMk id="4" creationId="{9DA8C127-7518-02FF-2670-E6AF73DACDE2}"/>
          </ac:spMkLst>
        </pc:spChg>
        <pc:spChg chg="del">
          <ac:chgData name="Nadkarni, Nikhil" userId="8cb4e2ce-db3a-48d0-bf6f-d5eb8967a6f9" providerId="ADAL" clId="{3D8AE9CF-11A6-4709-B7E1-28958F68C423}" dt="2023-07-10T16:04:55.420" v="424" actId="478"/>
          <ac:spMkLst>
            <pc:docMk/>
            <pc:sldMk cId="1963271544" sldId="1132"/>
            <ac:spMk id="5" creationId="{D8AC20E5-DC45-4CD6-B89A-B6A38FF880E8}"/>
          </ac:spMkLst>
        </pc:spChg>
        <pc:spChg chg="add mod">
          <ac:chgData name="Nadkarni, Nikhil" userId="8cb4e2ce-db3a-48d0-bf6f-d5eb8967a6f9" providerId="ADAL" clId="{3D8AE9CF-11A6-4709-B7E1-28958F68C423}" dt="2023-07-10T20:21:07.890" v="6666" actId="962"/>
          <ac:spMkLst>
            <pc:docMk/>
            <pc:sldMk cId="1963271544" sldId="1132"/>
            <ac:spMk id="7" creationId="{79D560B9-9B58-7233-67C2-65CD20C91461}"/>
          </ac:spMkLst>
        </pc:spChg>
        <pc:spChg chg="add del mod">
          <ac:chgData name="Nadkarni, Nikhil" userId="8cb4e2ce-db3a-48d0-bf6f-d5eb8967a6f9" providerId="ADAL" clId="{3D8AE9CF-11A6-4709-B7E1-28958F68C423}" dt="2023-07-10T16:04:59.528" v="425" actId="478"/>
          <ac:spMkLst>
            <pc:docMk/>
            <pc:sldMk cId="1963271544" sldId="1132"/>
            <ac:spMk id="9" creationId="{E95EDD29-A832-2934-1A8B-96148AA57F61}"/>
          </ac:spMkLst>
        </pc:spChg>
        <pc:spChg chg="add mod">
          <ac:chgData name="Nadkarni, Nikhil" userId="8cb4e2ce-db3a-48d0-bf6f-d5eb8967a6f9" providerId="ADAL" clId="{3D8AE9CF-11A6-4709-B7E1-28958F68C423}" dt="2023-07-10T17:49:24.469" v="3046"/>
          <ac:spMkLst>
            <pc:docMk/>
            <pc:sldMk cId="1963271544" sldId="1132"/>
            <ac:spMk id="10" creationId="{A5057488-8D75-303E-AA09-4CB3EA3C2D6F}"/>
          </ac:spMkLst>
        </pc:spChg>
        <pc:spChg chg="add mod">
          <ac:chgData name="Nadkarni, Nikhil" userId="8cb4e2ce-db3a-48d0-bf6f-d5eb8967a6f9" providerId="ADAL" clId="{3D8AE9CF-11A6-4709-B7E1-28958F68C423}" dt="2023-07-10T17:49:24.469" v="3046"/>
          <ac:spMkLst>
            <pc:docMk/>
            <pc:sldMk cId="1963271544" sldId="1132"/>
            <ac:spMk id="11" creationId="{CEA035ED-780D-D8A1-57EC-6AD5BA6B1815}"/>
          </ac:spMkLst>
        </pc:spChg>
        <pc:spChg chg="mod">
          <ac:chgData name="Nadkarni, Nikhil" userId="8cb4e2ce-db3a-48d0-bf6f-d5eb8967a6f9" providerId="ADAL" clId="{3D8AE9CF-11A6-4709-B7E1-28958F68C423}" dt="2023-07-10T16:05:30.870" v="437" actId="1076"/>
          <ac:spMkLst>
            <pc:docMk/>
            <pc:sldMk cId="1963271544" sldId="1132"/>
            <ac:spMk id="26" creationId="{07CE0FFF-B88F-4BF6-A69A-2F7EF781B2CD}"/>
          </ac:spMkLst>
        </pc:spChg>
        <pc:spChg chg="del">
          <ac:chgData name="Nadkarni, Nikhil" userId="8cb4e2ce-db3a-48d0-bf6f-d5eb8967a6f9" providerId="ADAL" clId="{3D8AE9CF-11A6-4709-B7E1-28958F68C423}" dt="2023-07-07T16:54:16.858" v="4" actId="478"/>
          <ac:spMkLst>
            <pc:docMk/>
            <pc:sldMk cId="1963271544" sldId="1132"/>
            <ac:spMk id="27" creationId="{BD5EC4B2-249C-8FC9-B20B-A67FB213FBA3}"/>
          </ac:spMkLst>
        </pc:spChg>
        <pc:spChg chg="del">
          <ac:chgData name="Nadkarni, Nikhil" userId="8cb4e2ce-db3a-48d0-bf6f-d5eb8967a6f9" providerId="ADAL" clId="{3D8AE9CF-11A6-4709-B7E1-28958F68C423}" dt="2023-07-10T16:03:22.938" v="399" actId="478"/>
          <ac:spMkLst>
            <pc:docMk/>
            <pc:sldMk cId="1963271544" sldId="1132"/>
            <ac:spMk id="30" creationId="{7E260FEA-554A-29D6-99FA-2FAD9937CD65}"/>
          </ac:spMkLst>
        </pc:spChg>
        <pc:spChg chg="add del mod">
          <ac:chgData name="Nadkarni, Nikhil" userId="8cb4e2ce-db3a-48d0-bf6f-d5eb8967a6f9" providerId="ADAL" clId="{3D8AE9CF-11A6-4709-B7E1-28958F68C423}" dt="2023-07-10T16:05:30.870" v="437" actId="1076"/>
          <ac:spMkLst>
            <pc:docMk/>
            <pc:sldMk cId="1963271544" sldId="1132"/>
            <ac:spMk id="31" creationId="{303B9770-7DE8-9A95-C80B-6C4BC1773EAF}"/>
          </ac:spMkLst>
        </pc:spChg>
        <pc:spChg chg="del">
          <ac:chgData name="Nadkarni, Nikhil" userId="8cb4e2ce-db3a-48d0-bf6f-d5eb8967a6f9" providerId="ADAL" clId="{3D8AE9CF-11A6-4709-B7E1-28958F68C423}" dt="2023-07-10T16:03:50.852" v="405" actId="478"/>
          <ac:spMkLst>
            <pc:docMk/>
            <pc:sldMk cId="1963271544" sldId="1132"/>
            <ac:spMk id="35" creationId="{57EF2B9E-5D98-FDF3-12C3-55D4D3DE91C0}"/>
          </ac:spMkLst>
        </pc:spChg>
        <pc:spChg chg="del mod">
          <ac:chgData name="Nadkarni, Nikhil" userId="8cb4e2ce-db3a-48d0-bf6f-d5eb8967a6f9" providerId="ADAL" clId="{3D8AE9CF-11A6-4709-B7E1-28958F68C423}" dt="2023-07-07T16:54:26.756" v="7" actId="478"/>
          <ac:spMkLst>
            <pc:docMk/>
            <pc:sldMk cId="1963271544" sldId="1132"/>
            <ac:spMk id="36" creationId="{6FB8B396-EED3-716E-D977-D502528D3820}"/>
          </ac:spMkLst>
        </pc:spChg>
        <pc:spChg chg="del">
          <ac:chgData name="Nadkarni, Nikhil" userId="8cb4e2ce-db3a-48d0-bf6f-d5eb8967a6f9" providerId="ADAL" clId="{3D8AE9CF-11A6-4709-B7E1-28958F68C423}" dt="2023-07-10T16:03:25.917" v="401" actId="478"/>
          <ac:spMkLst>
            <pc:docMk/>
            <pc:sldMk cId="1963271544" sldId="1132"/>
            <ac:spMk id="41" creationId="{704DE6C9-AC7E-1F98-3669-B39F0EE75E90}"/>
          </ac:spMkLst>
        </pc:spChg>
        <pc:spChg chg="del">
          <ac:chgData name="Nadkarni, Nikhil" userId="8cb4e2ce-db3a-48d0-bf6f-d5eb8967a6f9" providerId="ADAL" clId="{3D8AE9CF-11A6-4709-B7E1-28958F68C423}" dt="2023-07-10T16:03:24.407" v="400" actId="478"/>
          <ac:spMkLst>
            <pc:docMk/>
            <pc:sldMk cId="1963271544" sldId="1132"/>
            <ac:spMk id="43" creationId="{6B9F7C1F-C9E0-0271-6B62-C62315ADA57A}"/>
          </ac:spMkLst>
        </pc:spChg>
        <pc:spChg chg="del mod">
          <ac:chgData name="Nadkarni, Nikhil" userId="8cb4e2ce-db3a-48d0-bf6f-d5eb8967a6f9" providerId="ADAL" clId="{3D8AE9CF-11A6-4709-B7E1-28958F68C423}" dt="2023-07-10T16:02:00.986" v="274" actId="478"/>
          <ac:spMkLst>
            <pc:docMk/>
            <pc:sldMk cId="1963271544" sldId="1132"/>
            <ac:spMk id="47" creationId="{34D62E1C-E61F-7556-AD87-5F0899626A87}"/>
          </ac:spMkLst>
        </pc:spChg>
        <pc:picChg chg="del">
          <ac:chgData name="Nadkarni, Nikhil" userId="8cb4e2ce-db3a-48d0-bf6f-d5eb8967a6f9" providerId="ADAL" clId="{3D8AE9CF-11A6-4709-B7E1-28958F68C423}" dt="2023-07-07T16:54:20.481" v="5" actId="478"/>
          <ac:picMkLst>
            <pc:docMk/>
            <pc:sldMk cId="1963271544" sldId="1132"/>
            <ac:picMk id="44" creationId="{1D84CAB1-A4FA-DFEC-E329-9F6B4A370D2B}"/>
          </ac:picMkLst>
        </pc:picChg>
        <pc:picChg chg="del">
          <ac:chgData name="Nadkarni, Nikhil" userId="8cb4e2ce-db3a-48d0-bf6f-d5eb8967a6f9" providerId="ADAL" clId="{3D8AE9CF-11A6-4709-B7E1-28958F68C423}" dt="2023-07-10T16:03:53.256" v="406" actId="478"/>
          <ac:picMkLst>
            <pc:docMk/>
            <pc:sldMk cId="1963271544" sldId="1132"/>
            <ac:picMk id="46" creationId="{9B6E9984-F32B-D4EC-D987-B245E70B9836}"/>
          </ac:picMkLst>
        </pc:picChg>
        <pc:extLst>
          <p:ext xmlns:p="http://schemas.openxmlformats.org/presentationml/2006/main" uri="{D6D511B9-2390-475A-947B-AFAB55BFBCF1}">
            <pc226:cmChg xmlns:pc226="http://schemas.microsoft.com/office/powerpoint/2022/06/main/command" chg="mod">
              <pc226:chgData name="Nadkarni, Nikhil" userId="8cb4e2ce-db3a-48d0-bf6f-d5eb8967a6f9" providerId="ADAL" clId="{3D8AE9CF-11A6-4709-B7E1-28958F68C423}" dt="2023-07-07T16:54:26.769" v="8" actId="2056"/>
              <pc2:cmMkLst xmlns:pc2="http://schemas.microsoft.com/office/powerpoint/2019/9/main/command">
                <pc:docMk/>
                <pc:sldMk cId="1963271544" sldId="1132"/>
                <pc2:cmMk id="{69E4B366-BD72-4D1B-9B07-3B5D0AF1E6B5}"/>
              </pc2:cmMkLst>
            </pc226:cmChg>
          </p:ext>
        </pc:extLst>
      </pc:sldChg>
      <pc:sldChg chg="addSp delSp modSp mod modCm">
        <pc:chgData name="Nadkarni, Nikhil" userId="8cb4e2ce-db3a-48d0-bf6f-d5eb8967a6f9" providerId="ADAL" clId="{3D8AE9CF-11A6-4709-B7E1-28958F68C423}" dt="2023-07-10T20:22:41.504" v="6960" actId="962"/>
        <pc:sldMkLst>
          <pc:docMk/>
          <pc:sldMk cId="3474700355" sldId="1958"/>
        </pc:sldMkLst>
        <pc:spChg chg="add mod">
          <ac:chgData name="Nadkarni, Nikhil" userId="8cb4e2ce-db3a-48d0-bf6f-d5eb8967a6f9" providerId="ADAL" clId="{3D8AE9CF-11A6-4709-B7E1-28958F68C423}" dt="2023-07-10T20:19:14.132" v="6538" actId="27636"/>
          <ac:spMkLst>
            <pc:docMk/>
            <pc:sldMk cId="3474700355" sldId="1958"/>
            <ac:spMk id="2" creationId="{A2803681-83BA-14F1-D3BA-1D9F3C619B06}"/>
          </ac:spMkLst>
        </pc:spChg>
        <pc:spChg chg="del mod">
          <ac:chgData name="Nadkarni, Nikhil" userId="8cb4e2ce-db3a-48d0-bf6f-d5eb8967a6f9" providerId="ADAL" clId="{3D8AE9CF-11A6-4709-B7E1-28958F68C423}" dt="2023-07-10T16:06:27.024" v="462" actId="478"/>
          <ac:spMkLst>
            <pc:docMk/>
            <pc:sldMk cId="3474700355" sldId="1958"/>
            <ac:spMk id="3" creationId="{00000000-0000-0000-0000-000000000000}"/>
          </ac:spMkLst>
        </pc:spChg>
        <pc:spChg chg="add mod">
          <ac:chgData name="Nadkarni, Nikhil" userId="8cb4e2ce-db3a-48d0-bf6f-d5eb8967a6f9" providerId="ADAL" clId="{3D8AE9CF-11A6-4709-B7E1-28958F68C423}" dt="2023-07-10T20:21:10.049" v="6667" actId="962"/>
          <ac:spMkLst>
            <pc:docMk/>
            <pc:sldMk cId="3474700355" sldId="1958"/>
            <ac:spMk id="4" creationId="{E3A07C0A-9186-3109-07B2-97E65FF10052}"/>
          </ac:spMkLst>
        </pc:spChg>
        <pc:spChg chg="add del mod">
          <ac:chgData name="Nadkarni, Nikhil" userId="8cb4e2ce-db3a-48d0-bf6f-d5eb8967a6f9" providerId="ADAL" clId="{3D8AE9CF-11A6-4709-B7E1-28958F68C423}" dt="2023-07-10T16:06:28.838" v="464" actId="478"/>
          <ac:spMkLst>
            <pc:docMk/>
            <pc:sldMk cId="3474700355" sldId="1958"/>
            <ac:spMk id="6" creationId="{73F80CEA-DA55-BD22-264D-DA3205B4344E}"/>
          </ac:spMkLst>
        </pc:spChg>
        <pc:spChg chg="mod">
          <ac:chgData name="Nadkarni, Nikhil" userId="8cb4e2ce-db3a-48d0-bf6f-d5eb8967a6f9" providerId="ADAL" clId="{3D8AE9CF-11A6-4709-B7E1-28958F68C423}" dt="2023-07-10T17:49:39.083" v="3051" actId="20577"/>
          <ac:spMkLst>
            <pc:docMk/>
            <pc:sldMk cId="3474700355" sldId="1958"/>
            <ac:spMk id="11" creationId="{CF6A662C-B159-4D4A-B55E-03EE61F7E70F}"/>
          </ac:spMkLst>
        </pc:spChg>
        <pc:spChg chg="add mod">
          <ac:chgData name="Nadkarni, Nikhil" userId="8cb4e2ce-db3a-48d0-bf6f-d5eb8967a6f9" providerId="ADAL" clId="{3D8AE9CF-11A6-4709-B7E1-28958F68C423}" dt="2023-07-10T16:07:33.349" v="556" actId="20577"/>
          <ac:spMkLst>
            <pc:docMk/>
            <pc:sldMk cId="3474700355" sldId="1958"/>
            <ac:spMk id="14" creationId="{9C52EBCC-05CF-19D1-CA36-2D2D0F98314B}"/>
          </ac:spMkLst>
        </pc:spChg>
        <pc:spChg chg="add mod">
          <ac:chgData name="Nadkarni, Nikhil" userId="8cb4e2ce-db3a-48d0-bf6f-d5eb8967a6f9" providerId="ADAL" clId="{3D8AE9CF-11A6-4709-B7E1-28958F68C423}" dt="2023-07-10T17:07:28.865" v="2325" actId="14100"/>
          <ac:spMkLst>
            <pc:docMk/>
            <pc:sldMk cId="3474700355" sldId="1958"/>
            <ac:spMk id="15" creationId="{133C9064-36E8-9E93-C896-7069C24EFB28}"/>
          </ac:spMkLst>
        </pc:spChg>
        <pc:graphicFrameChg chg="mod">
          <ac:chgData name="Nadkarni, Nikhil" userId="8cb4e2ce-db3a-48d0-bf6f-d5eb8967a6f9" providerId="ADAL" clId="{3D8AE9CF-11A6-4709-B7E1-28958F68C423}" dt="2023-07-10T20:22:41.504" v="6960" actId="962"/>
          <ac:graphicFrameMkLst>
            <pc:docMk/>
            <pc:sldMk cId="3474700355" sldId="1958"/>
            <ac:graphicFrameMk id="23" creationId="{6A970923-3EE9-5110-7D67-6F29AF537C54}"/>
          </ac:graphicFrameMkLst>
        </pc:graphicFrameChg>
        <pc:extLst>
          <p:ext xmlns:p="http://schemas.openxmlformats.org/presentationml/2006/main" uri="{D6D511B9-2390-475A-947B-AFAB55BFBCF1}">
            <pc226:cmChg xmlns:pc226="http://schemas.microsoft.com/office/powerpoint/2022/06/main/command" chg="mod">
              <pc226:chgData name="Nadkarni, Nikhil" userId="8cb4e2ce-db3a-48d0-bf6f-d5eb8967a6f9" providerId="ADAL" clId="{3D8AE9CF-11A6-4709-B7E1-28958F68C423}" dt="2023-07-10T16:07:42.398" v="557"/>
              <pc2:cmMkLst xmlns:pc2="http://schemas.microsoft.com/office/powerpoint/2019/9/main/command">
                <pc:docMk/>
                <pc:sldMk cId="3474700355" sldId="1958"/>
                <pc2:cmMk id="{033F00EE-953C-4860-A001-328382969B86}"/>
              </pc2:cmMkLst>
            </pc226:cmChg>
          </p:ext>
        </pc:extLst>
      </pc:sldChg>
      <pc:sldChg chg="del modCm">
        <pc:chgData name="Nadkarni, Nikhil" userId="8cb4e2ce-db3a-48d0-bf6f-d5eb8967a6f9" providerId="ADAL" clId="{3D8AE9CF-11A6-4709-B7E1-28958F68C423}" dt="2023-07-10T16:08:44.500" v="567" actId="47"/>
        <pc:sldMkLst>
          <pc:docMk/>
          <pc:sldMk cId="2430331712" sldId="1959"/>
        </pc:sldMkLst>
        <pc:extLst>
          <p:ext xmlns:p="http://schemas.openxmlformats.org/presentationml/2006/main" uri="{D6D511B9-2390-475A-947B-AFAB55BFBCF1}">
            <pc226:cmChg xmlns:pc226="http://schemas.microsoft.com/office/powerpoint/2022/06/main/command" chg="">
              <pc226:chgData name="Nadkarni, Nikhil" userId="8cb4e2ce-db3a-48d0-bf6f-d5eb8967a6f9" providerId="ADAL" clId="{3D8AE9CF-11A6-4709-B7E1-28958F68C423}" dt="2023-07-07T17:39:58.543" v="11"/>
              <pc2:cmMkLst xmlns:pc2="http://schemas.microsoft.com/office/powerpoint/2019/9/main/command">
                <pc:docMk/>
                <pc:sldMk cId="2430331712" sldId="1959"/>
                <pc2:cmMk id="{B9100A68-20E0-40AE-B9E8-48E7EB1DD9F6}"/>
              </pc2:cmMkLst>
              <pc226:cmRplyChg chg="add">
                <pc226:chgData name="Nadkarni, Nikhil" userId="8cb4e2ce-db3a-48d0-bf6f-d5eb8967a6f9" providerId="ADAL" clId="{3D8AE9CF-11A6-4709-B7E1-28958F68C423}" dt="2023-07-07T17:39:58.543" v="11"/>
                <pc2:cmRplyMkLst xmlns:pc2="http://schemas.microsoft.com/office/powerpoint/2019/9/main/command">
                  <pc:docMk/>
                  <pc:sldMk cId="2430331712" sldId="1959"/>
                  <pc2:cmMk id="{B9100A68-20E0-40AE-B9E8-48E7EB1DD9F6}"/>
                  <pc2:cmRplyMk id="{4CCA2993-AAC2-47EC-AD54-96381F3B689B}"/>
                </pc2:cmRplyMkLst>
              </pc226:cmRplyChg>
            </pc226:cmChg>
          </p:ext>
        </pc:extLst>
      </pc:sldChg>
      <pc:sldChg chg="del">
        <pc:chgData name="Nadkarni, Nikhil" userId="8cb4e2ce-db3a-48d0-bf6f-d5eb8967a6f9" providerId="ADAL" clId="{3D8AE9CF-11A6-4709-B7E1-28958F68C423}" dt="2023-07-10T16:43:10.450" v="974" actId="47"/>
        <pc:sldMkLst>
          <pc:docMk/>
          <pc:sldMk cId="2586051300" sldId="1960"/>
        </pc:sldMkLst>
      </pc:sldChg>
      <pc:sldChg chg="del">
        <pc:chgData name="Nadkarni, Nikhil" userId="8cb4e2ce-db3a-48d0-bf6f-d5eb8967a6f9" providerId="ADAL" clId="{3D8AE9CF-11A6-4709-B7E1-28958F68C423}" dt="2023-07-10T17:01:44.402" v="2109" actId="47"/>
        <pc:sldMkLst>
          <pc:docMk/>
          <pc:sldMk cId="215532766" sldId="1961"/>
        </pc:sldMkLst>
      </pc:sldChg>
      <pc:sldChg chg="addSp delSp modSp mod">
        <pc:chgData name="Nadkarni, Nikhil" userId="8cb4e2ce-db3a-48d0-bf6f-d5eb8967a6f9" providerId="ADAL" clId="{3D8AE9CF-11A6-4709-B7E1-28958F68C423}" dt="2023-07-10T20:21:44.073" v="6734" actId="962"/>
        <pc:sldMkLst>
          <pc:docMk/>
          <pc:sldMk cId="3992210531" sldId="1962"/>
        </pc:sldMkLst>
        <pc:spChg chg="add mod">
          <ac:chgData name="Nadkarni, Nikhil" userId="8cb4e2ce-db3a-48d0-bf6f-d5eb8967a6f9" providerId="ADAL" clId="{3D8AE9CF-11A6-4709-B7E1-28958F68C423}" dt="2023-07-10T20:08:45.745" v="6513"/>
          <ac:spMkLst>
            <pc:docMk/>
            <pc:sldMk cId="3992210531" sldId="1962"/>
            <ac:spMk id="2" creationId="{75D8E2BC-B067-A912-1925-E4F54C1A3555}"/>
          </ac:spMkLst>
        </pc:spChg>
        <pc:spChg chg="del">
          <ac:chgData name="Nadkarni, Nikhil" userId="8cb4e2ce-db3a-48d0-bf6f-d5eb8967a6f9" providerId="ADAL" clId="{3D8AE9CF-11A6-4709-B7E1-28958F68C423}" dt="2023-07-10T17:02:36.848" v="2133" actId="478"/>
          <ac:spMkLst>
            <pc:docMk/>
            <pc:sldMk cId="3992210531" sldId="1962"/>
            <ac:spMk id="2" creationId="{DE36F9E6-0A9D-439D-3475-E572CB064060}"/>
          </ac:spMkLst>
        </pc:spChg>
        <pc:spChg chg="mod">
          <ac:chgData name="Nadkarni, Nikhil" userId="8cb4e2ce-db3a-48d0-bf6f-d5eb8967a6f9" providerId="ADAL" clId="{3D8AE9CF-11A6-4709-B7E1-28958F68C423}" dt="2023-07-10T20:06:39.456" v="6415" actId="20577"/>
          <ac:spMkLst>
            <pc:docMk/>
            <pc:sldMk cId="3992210531" sldId="1962"/>
            <ac:spMk id="3" creationId="{2088BC24-1734-6419-1D44-083DDAA0362A}"/>
          </ac:spMkLst>
        </pc:spChg>
        <pc:spChg chg="del">
          <ac:chgData name="Nadkarni, Nikhil" userId="8cb4e2ce-db3a-48d0-bf6f-d5eb8967a6f9" providerId="ADAL" clId="{3D8AE9CF-11A6-4709-B7E1-28958F68C423}" dt="2023-07-10T20:08:36.865" v="6512" actId="478"/>
          <ac:spMkLst>
            <pc:docMk/>
            <pc:sldMk cId="3992210531" sldId="1962"/>
            <ac:spMk id="4" creationId="{16D4389A-02E6-5DD3-C90C-DA062E6E491E}"/>
          </ac:spMkLst>
        </pc:spChg>
        <pc:spChg chg="add mod">
          <ac:chgData name="Nadkarni, Nikhil" userId="8cb4e2ce-db3a-48d0-bf6f-d5eb8967a6f9" providerId="ADAL" clId="{3D8AE9CF-11A6-4709-B7E1-28958F68C423}" dt="2023-07-10T20:19:20.942" v="6540" actId="33553"/>
          <ac:spMkLst>
            <pc:docMk/>
            <pc:sldMk cId="3992210531" sldId="1962"/>
            <ac:spMk id="5" creationId="{8F196868-1C52-8D91-AF0E-C71A04E48012}"/>
          </ac:spMkLst>
        </pc:spChg>
        <pc:spChg chg="add mod">
          <ac:chgData name="Nadkarni, Nikhil" userId="8cb4e2ce-db3a-48d0-bf6f-d5eb8967a6f9" providerId="ADAL" clId="{3D8AE9CF-11A6-4709-B7E1-28958F68C423}" dt="2023-07-10T20:21:44.073" v="6734" actId="962"/>
          <ac:spMkLst>
            <pc:docMk/>
            <pc:sldMk cId="3992210531" sldId="1962"/>
            <ac:spMk id="6" creationId="{E351053B-92D9-7338-1543-BD80B26AF33E}"/>
          </ac:spMkLst>
        </pc:spChg>
        <pc:spChg chg="add mod">
          <ac:chgData name="Nadkarni, Nikhil" userId="8cb4e2ce-db3a-48d0-bf6f-d5eb8967a6f9" providerId="ADAL" clId="{3D8AE9CF-11A6-4709-B7E1-28958F68C423}" dt="2023-07-10T20:08:45.745" v="6513"/>
          <ac:spMkLst>
            <pc:docMk/>
            <pc:sldMk cId="3992210531" sldId="1962"/>
            <ac:spMk id="7" creationId="{E5C00FE7-1626-A64E-216E-7FC46708F8F1}"/>
          </ac:spMkLst>
        </pc:spChg>
        <pc:spChg chg="add del mod">
          <ac:chgData name="Nadkarni, Nikhil" userId="8cb4e2ce-db3a-48d0-bf6f-d5eb8967a6f9" providerId="ADAL" clId="{3D8AE9CF-11A6-4709-B7E1-28958F68C423}" dt="2023-07-10T17:02:37.740" v="2134" actId="478"/>
          <ac:spMkLst>
            <pc:docMk/>
            <pc:sldMk cId="3992210531" sldId="1962"/>
            <ac:spMk id="8" creationId="{9A1EA81C-46CA-0BFD-0D1E-9D1182B5E9FE}"/>
          </ac:spMkLst>
        </pc:spChg>
      </pc:sldChg>
      <pc:sldChg chg="addSp delSp modSp mod">
        <pc:chgData name="Nadkarni, Nikhil" userId="8cb4e2ce-db3a-48d0-bf6f-d5eb8967a6f9" providerId="ADAL" clId="{3D8AE9CF-11A6-4709-B7E1-28958F68C423}" dt="2023-07-10T20:21:41.810" v="6733" actId="962"/>
        <pc:sldMkLst>
          <pc:docMk/>
          <pc:sldMk cId="4255861837" sldId="1963"/>
        </pc:sldMkLst>
        <pc:spChg chg="add del mod">
          <ac:chgData name="Nadkarni, Nikhil" userId="8cb4e2ce-db3a-48d0-bf6f-d5eb8967a6f9" providerId="ADAL" clId="{3D8AE9CF-11A6-4709-B7E1-28958F68C423}" dt="2023-07-10T20:08:50.917" v="6515"/>
          <ac:spMkLst>
            <pc:docMk/>
            <pc:sldMk cId="4255861837" sldId="1963"/>
            <ac:spMk id="2" creationId="{1D1B36F6-DE8B-2517-76AA-A92108D127A9}"/>
          </ac:spMkLst>
        </pc:spChg>
        <pc:spChg chg="del">
          <ac:chgData name="Nadkarni, Nikhil" userId="8cb4e2ce-db3a-48d0-bf6f-d5eb8967a6f9" providerId="ADAL" clId="{3D8AE9CF-11A6-4709-B7E1-28958F68C423}" dt="2023-07-10T17:03:41.390" v="2239" actId="478"/>
          <ac:spMkLst>
            <pc:docMk/>
            <pc:sldMk cId="4255861837" sldId="1963"/>
            <ac:spMk id="2" creationId="{CC9D4750-C48F-670C-D69A-E66A407DCA40}"/>
          </ac:spMkLst>
        </pc:spChg>
        <pc:spChg chg="del">
          <ac:chgData name="Nadkarni, Nikhil" userId="8cb4e2ce-db3a-48d0-bf6f-d5eb8967a6f9" providerId="ADAL" clId="{3D8AE9CF-11A6-4709-B7E1-28958F68C423}" dt="2023-07-10T17:03:57.227" v="2260" actId="478"/>
          <ac:spMkLst>
            <pc:docMk/>
            <pc:sldMk cId="4255861837" sldId="1963"/>
            <ac:spMk id="3" creationId="{535EB9F3-E9D3-C3C6-A148-B826ED92F3E8}"/>
          </ac:spMkLst>
        </pc:spChg>
        <pc:spChg chg="add del mod">
          <ac:chgData name="Nadkarni, Nikhil" userId="8cb4e2ce-db3a-48d0-bf6f-d5eb8967a6f9" providerId="ADAL" clId="{3D8AE9CF-11A6-4709-B7E1-28958F68C423}" dt="2023-07-10T20:08:50.917" v="6515"/>
          <ac:spMkLst>
            <pc:docMk/>
            <pc:sldMk cId="4255861837" sldId="1963"/>
            <ac:spMk id="3" creationId="{BCF1E7E2-2351-E5F7-7E0C-CD5015EEA89B}"/>
          </ac:spMkLst>
        </pc:spChg>
        <pc:spChg chg="del">
          <ac:chgData name="Nadkarni, Nikhil" userId="8cb4e2ce-db3a-48d0-bf6f-d5eb8967a6f9" providerId="ADAL" clId="{3D8AE9CF-11A6-4709-B7E1-28958F68C423}" dt="2023-07-10T20:08:52.979" v="6516" actId="478"/>
          <ac:spMkLst>
            <pc:docMk/>
            <pc:sldMk cId="4255861837" sldId="1963"/>
            <ac:spMk id="4" creationId="{0C18B52F-3E56-CE58-5C37-11DD0E352E07}"/>
          </ac:spMkLst>
        </pc:spChg>
        <pc:spChg chg="add mod">
          <ac:chgData name="Nadkarni, Nikhil" userId="8cb4e2ce-db3a-48d0-bf6f-d5eb8967a6f9" providerId="ADAL" clId="{3D8AE9CF-11A6-4709-B7E1-28958F68C423}" dt="2023-07-10T20:08:53.716" v="6517"/>
          <ac:spMkLst>
            <pc:docMk/>
            <pc:sldMk cId="4255861837" sldId="1963"/>
            <ac:spMk id="5" creationId="{B8DEC12F-2E52-AC16-EF21-4BB45422D8B6}"/>
          </ac:spMkLst>
        </pc:spChg>
        <pc:spChg chg="add del mod">
          <ac:chgData name="Nadkarni, Nikhil" userId="8cb4e2ce-db3a-48d0-bf6f-d5eb8967a6f9" providerId="ADAL" clId="{3D8AE9CF-11A6-4709-B7E1-28958F68C423}" dt="2023-07-10T17:03:43.884" v="2240" actId="478"/>
          <ac:spMkLst>
            <pc:docMk/>
            <pc:sldMk cId="4255861837" sldId="1963"/>
            <ac:spMk id="6" creationId="{60685B6A-15B6-5DFE-C772-AACE7AAF8FE6}"/>
          </ac:spMkLst>
        </pc:spChg>
        <pc:spChg chg="add mod">
          <ac:chgData name="Nadkarni, Nikhil" userId="8cb4e2ce-db3a-48d0-bf6f-d5eb8967a6f9" providerId="ADAL" clId="{3D8AE9CF-11A6-4709-B7E1-28958F68C423}" dt="2023-07-10T20:08:53.716" v="6517"/>
          <ac:spMkLst>
            <pc:docMk/>
            <pc:sldMk cId="4255861837" sldId="1963"/>
            <ac:spMk id="6" creationId="{BBD967D3-9B49-861D-D44F-CBEE271A4D5A}"/>
          </ac:spMkLst>
        </pc:spChg>
        <pc:spChg chg="add mod">
          <ac:chgData name="Nadkarni, Nikhil" userId="8cb4e2ce-db3a-48d0-bf6f-d5eb8967a6f9" providerId="ADAL" clId="{3D8AE9CF-11A6-4709-B7E1-28958F68C423}" dt="2023-07-10T17:03:48.971" v="2259" actId="20577"/>
          <ac:spMkLst>
            <pc:docMk/>
            <pc:sldMk cId="4255861837" sldId="1963"/>
            <ac:spMk id="7" creationId="{55C3F6FE-508A-07E3-DEBA-1E6F5932979C}"/>
          </ac:spMkLst>
        </pc:spChg>
        <pc:spChg chg="add mod">
          <ac:chgData name="Nadkarni, Nikhil" userId="8cb4e2ce-db3a-48d0-bf6f-d5eb8967a6f9" providerId="ADAL" clId="{3D8AE9CF-11A6-4709-B7E1-28958F68C423}" dt="2023-07-10T20:21:41.810" v="6733" actId="962"/>
          <ac:spMkLst>
            <pc:docMk/>
            <pc:sldMk cId="4255861837" sldId="1963"/>
            <ac:spMk id="8" creationId="{99FCCC70-6E17-33E9-D66D-B6B3B0A563C9}"/>
          </ac:spMkLst>
        </pc:spChg>
      </pc:sldChg>
      <pc:sldChg chg="addSp delSp modSp del mod">
        <pc:chgData name="Nadkarni, Nikhil" userId="8cb4e2ce-db3a-48d0-bf6f-d5eb8967a6f9" providerId="ADAL" clId="{3D8AE9CF-11A6-4709-B7E1-28958F68C423}" dt="2023-07-10T20:05:07.954" v="6376" actId="47"/>
        <pc:sldMkLst>
          <pc:docMk/>
          <pc:sldMk cId="4145500570" sldId="1964"/>
        </pc:sldMkLst>
        <pc:spChg chg="add mod">
          <ac:chgData name="Nadkarni, Nikhil" userId="8cb4e2ce-db3a-48d0-bf6f-d5eb8967a6f9" providerId="ADAL" clId="{3D8AE9CF-11A6-4709-B7E1-28958F68C423}" dt="2023-07-10T20:05:03.854" v="6374" actId="21"/>
          <ac:spMkLst>
            <pc:docMk/>
            <pc:sldMk cId="4145500570" sldId="1964"/>
            <ac:spMk id="4" creationId="{0A471AA2-DB3A-8CEF-A884-317A80C6E339}"/>
          </ac:spMkLst>
        </pc:spChg>
        <pc:spChg chg="del">
          <ac:chgData name="Nadkarni, Nikhil" userId="8cb4e2ce-db3a-48d0-bf6f-d5eb8967a6f9" providerId="ADAL" clId="{3D8AE9CF-11A6-4709-B7E1-28958F68C423}" dt="2023-07-10T20:05:03.854" v="6374" actId="21"/>
          <ac:spMkLst>
            <pc:docMk/>
            <pc:sldMk cId="4145500570" sldId="1964"/>
            <ac:spMk id="9" creationId="{00000000-0000-0000-0000-000000000000}"/>
          </ac:spMkLst>
        </pc:spChg>
        <pc:spChg chg="del">
          <ac:chgData name="Nadkarni, Nikhil" userId="8cb4e2ce-db3a-48d0-bf6f-d5eb8967a6f9" providerId="ADAL" clId="{3D8AE9CF-11A6-4709-B7E1-28958F68C423}" dt="2023-07-10T20:05:03.854" v="6374" actId="21"/>
          <ac:spMkLst>
            <pc:docMk/>
            <pc:sldMk cId="4145500570" sldId="1964"/>
            <ac:spMk id="10" creationId="{00000000-0000-0000-0000-000000000000}"/>
          </ac:spMkLst>
        </pc:spChg>
        <pc:spChg chg="del">
          <ac:chgData name="Nadkarni, Nikhil" userId="8cb4e2ce-db3a-48d0-bf6f-d5eb8967a6f9" providerId="ADAL" clId="{3D8AE9CF-11A6-4709-B7E1-28958F68C423}" dt="2023-07-10T20:05:03.854" v="6374" actId="21"/>
          <ac:spMkLst>
            <pc:docMk/>
            <pc:sldMk cId="4145500570" sldId="1964"/>
            <ac:spMk id="13" creationId="{00000000-0000-0000-0000-000000000000}"/>
          </ac:spMkLst>
        </pc:spChg>
        <pc:graphicFrameChg chg="del">
          <ac:chgData name="Nadkarni, Nikhil" userId="8cb4e2ce-db3a-48d0-bf6f-d5eb8967a6f9" providerId="ADAL" clId="{3D8AE9CF-11A6-4709-B7E1-28958F68C423}" dt="2023-07-10T20:05:03.854" v="6374" actId="21"/>
          <ac:graphicFrameMkLst>
            <pc:docMk/>
            <pc:sldMk cId="4145500570" sldId="1964"/>
            <ac:graphicFrameMk id="23" creationId="{6A970923-3EE9-5110-7D67-6F29AF537C54}"/>
          </ac:graphicFrameMkLst>
        </pc:graphicFrameChg>
        <pc:picChg chg="del">
          <ac:chgData name="Nadkarni, Nikhil" userId="8cb4e2ce-db3a-48d0-bf6f-d5eb8967a6f9" providerId="ADAL" clId="{3D8AE9CF-11A6-4709-B7E1-28958F68C423}" dt="2023-07-10T20:05:03.854" v="6374" actId="21"/>
          <ac:picMkLst>
            <pc:docMk/>
            <pc:sldMk cId="4145500570" sldId="1964"/>
            <ac:picMk id="12" creationId="{A7E6D13E-3F18-D30A-8248-80383CD52044}"/>
          </ac:picMkLst>
        </pc:picChg>
      </pc:sldChg>
      <pc:sldChg chg="del">
        <pc:chgData name="Nadkarni, Nikhil" userId="8cb4e2ce-db3a-48d0-bf6f-d5eb8967a6f9" providerId="ADAL" clId="{3D8AE9CF-11A6-4709-B7E1-28958F68C423}" dt="2023-07-10T16:28:59.338" v="903" actId="47"/>
        <pc:sldMkLst>
          <pc:docMk/>
          <pc:sldMk cId="738356794" sldId="1965"/>
        </pc:sldMkLst>
      </pc:sldChg>
      <pc:sldChg chg="modSp add mod">
        <pc:chgData name="Nadkarni, Nikhil" userId="8cb4e2ce-db3a-48d0-bf6f-d5eb8967a6f9" providerId="ADAL" clId="{3D8AE9CF-11A6-4709-B7E1-28958F68C423}" dt="2023-07-10T20:21:13.259" v="6669" actId="962"/>
        <pc:sldMkLst>
          <pc:docMk/>
          <pc:sldMk cId="1192723466" sldId="1966"/>
        </pc:sldMkLst>
        <pc:spChg chg="mod">
          <ac:chgData name="Nadkarni, Nikhil" userId="8cb4e2ce-db3a-48d0-bf6f-d5eb8967a6f9" providerId="ADAL" clId="{3D8AE9CF-11A6-4709-B7E1-28958F68C423}" dt="2023-07-10T17:09:55.836" v="2335" actId="5793"/>
          <ac:spMkLst>
            <pc:docMk/>
            <pc:sldMk cId="1192723466" sldId="1966"/>
            <ac:spMk id="3" creationId="{06AC962A-FABE-4F14-91E7-A91AD417ADFF}"/>
          </ac:spMkLst>
        </pc:spChg>
        <pc:spChg chg="mod">
          <ac:chgData name="Nadkarni, Nikhil" userId="8cb4e2ce-db3a-48d0-bf6f-d5eb8967a6f9" providerId="ADAL" clId="{3D8AE9CF-11A6-4709-B7E1-28958F68C423}" dt="2023-07-10T20:21:13.259" v="6669" actId="962"/>
          <ac:spMkLst>
            <pc:docMk/>
            <pc:sldMk cId="1192723466" sldId="1966"/>
            <ac:spMk id="6" creationId="{0038D609-7001-4947-92BB-A379E0414168}"/>
          </ac:spMkLst>
        </pc:spChg>
      </pc:sldChg>
      <pc:sldChg chg="modSp add mod">
        <pc:chgData name="Nadkarni, Nikhil" userId="8cb4e2ce-db3a-48d0-bf6f-d5eb8967a6f9" providerId="ADAL" clId="{3D8AE9CF-11A6-4709-B7E1-28958F68C423}" dt="2023-07-10T20:22:07.378" v="6745" actId="962"/>
        <pc:sldMkLst>
          <pc:docMk/>
          <pc:sldMk cId="3267574285" sldId="1967"/>
        </pc:sldMkLst>
        <pc:spChg chg="mod">
          <ac:chgData name="Nadkarni, Nikhil" userId="8cb4e2ce-db3a-48d0-bf6f-d5eb8967a6f9" providerId="ADAL" clId="{3D8AE9CF-11A6-4709-B7E1-28958F68C423}" dt="2023-07-10T19:26:46.552" v="4139" actId="5793"/>
          <ac:spMkLst>
            <pc:docMk/>
            <pc:sldMk cId="3267574285" sldId="1967"/>
            <ac:spMk id="3" creationId="{06AC962A-FABE-4F14-91E7-A91AD417ADFF}"/>
          </ac:spMkLst>
        </pc:spChg>
        <pc:spChg chg="mod">
          <ac:chgData name="Nadkarni, Nikhil" userId="8cb4e2ce-db3a-48d0-bf6f-d5eb8967a6f9" providerId="ADAL" clId="{3D8AE9CF-11A6-4709-B7E1-28958F68C423}" dt="2023-07-10T20:22:07.378" v="6745" actId="962"/>
          <ac:spMkLst>
            <pc:docMk/>
            <pc:sldMk cId="3267574285" sldId="1967"/>
            <ac:spMk id="6" creationId="{0038D609-7001-4947-92BB-A379E0414168}"/>
          </ac:spMkLst>
        </pc:spChg>
      </pc:sldChg>
      <pc:sldChg chg="modSp add mod">
        <pc:chgData name="Nadkarni, Nikhil" userId="8cb4e2ce-db3a-48d0-bf6f-d5eb8967a6f9" providerId="ADAL" clId="{3D8AE9CF-11A6-4709-B7E1-28958F68C423}" dt="2023-07-10T20:21:52.641" v="6737" actId="962"/>
        <pc:sldMkLst>
          <pc:docMk/>
          <pc:sldMk cId="2854237404" sldId="1968"/>
        </pc:sldMkLst>
        <pc:spChg chg="mod">
          <ac:chgData name="Nadkarni, Nikhil" userId="8cb4e2ce-db3a-48d0-bf6f-d5eb8967a6f9" providerId="ADAL" clId="{3D8AE9CF-11A6-4709-B7E1-28958F68C423}" dt="2023-07-10T19:27:07.766" v="4152" actId="5793"/>
          <ac:spMkLst>
            <pc:docMk/>
            <pc:sldMk cId="2854237404" sldId="1968"/>
            <ac:spMk id="3" creationId="{06AC962A-FABE-4F14-91E7-A91AD417ADFF}"/>
          </ac:spMkLst>
        </pc:spChg>
        <pc:spChg chg="mod">
          <ac:chgData name="Nadkarni, Nikhil" userId="8cb4e2ce-db3a-48d0-bf6f-d5eb8967a6f9" providerId="ADAL" clId="{3D8AE9CF-11A6-4709-B7E1-28958F68C423}" dt="2023-07-10T20:21:52.641" v="6737" actId="962"/>
          <ac:spMkLst>
            <pc:docMk/>
            <pc:sldMk cId="2854237404" sldId="1968"/>
            <ac:spMk id="6" creationId="{0038D609-7001-4947-92BB-A379E0414168}"/>
          </ac:spMkLst>
        </pc:spChg>
      </pc:sldChg>
      <pc:sldChg chg="addSp delSp modSp add mod">
        <pc:chgData name="Nadkarni, Nikhil" userId="8cb4e2ce-db3a-48d0-bf6f-d5eb8967a6f9" providerId="ADAL" clId="{3D8AE9CF-11A6-4709-B7E1-28958F68C423}" dt="2023-07-10T20:22:50.415" v="7006" actId="962"/>
        <pc:sldMkLst>
          <pc:docMk/>
          <pc:sldMk cId="1389041451" sldId="1969"/>
        </pc:sldMkLst>
        <pc:spChg chg="mod">
          <ac:chgData name="Nadkarni, Nikhil" userId="8cb4e2ce-db3a-48d0-bf6f-d5eb8967a6f9" providerId="ADAL" clId="{3D8AE9CF-11A6-4709-B7E1-28958F68C423}" dt="2023-07-10T16:26:26.329" v="644" actId="1076"/>
          <ac:spMkLst>
            <pc:docMk/>
            <pc:sldMk cId="1389041451" sldId="1969"/>
            <ac:spMk id="2" creationId="{71ECDFDF-B56B-4C43-BBBF-D35CEE5E475F}"/>
          </ac:spMkLst>
        </pc:spChg>
        <pc:spChg chg="mod">
          <ac:chgData name="Nadkarni, Nikhil" userId="8cb4e2ce-db3a-48d0-bf6f-d5eb8967a6f9" providerId="ADAL" clId="{3D8AE9CF-11A6-4709-B7E1-28958F68C423}" dt="2023-07-10T20:21:14.971" v="6670" actId="962"/>
          <ac:spMkLst>
            <pc:docMk/>
            <pc:sldMk cId="1389041451" sldId="1969"/>
            <ac:spMk id="6" creationId="{0038D609-7001-4947-92BB-A379E0414168}"/>
          </ac:spMkLst>
        </pc:spChg>
        <pc:spChg chg="mod">
          <ac:chgData name="Nadkarni, Nikhil" userId="8cb4e2ce-db3a-48d0-bf6f-d5eb8967a6f9" providerId="ADAL" clId="{3D8AE9CF-11A6-4709-B7E1-28958F68C423}" dt="2023-07-10T16:29:48.076" v="919" actId="5793"/>
          <ac:spMkLst>
            <pc:docMk/>
            <pc:sldMk cId="1389041451" sldId="1969"/>
            <ac:spMk id="11" creationId="{80375151-8B20-3D8C-FEBF-EF4330089FFA}"/>
          </ac:spMkLst>
        </pc:spChg>
        <pc:picChg chg="add mod">
          <ac:chgData name="Nadkarni, Nikhil" userId="8cb4e2ce-db3a-48d0-bf6f-d5eb8967a6f9" providerId="ADAL" clId="{3D8AE9CF-11A6-4709-B7E1-28958F68C423}" dt="2023-07-10T20:22:50.415" v="7006" actId="962"/>
          <ac:picMkLst>
            <pc:docMk/>
            <pc:sldMk cId="1389041451" sldId="1969"/>
            <ac:picMk id="4" creationId="{82CC64F2-5936-D499-C8C7-9411BB4F9974}"/>
          </ac:picMkLst>
        </pc:picChg>
        <pc:picChg chg="del">
          <ac:chgData name="Nadkarni, Nikhil" userId="8cb4e2ce-db3a-48d0-bf6f-d5eb8967a6f9" providerId="ADAL" clId="{3D8AE9CF-11A6-4709-B7E1-28958F68C423}" dt="2023-07-10T16:26:28.540" v="645" actId="478"/>
          <ac:picMkLst>
            <pc:docMk/>
            <pc:sldMk cId="1389041451" sldId="1969"/>
            <ac:picMk id="7" creationId="{5DB52DC8-48BD-AB73-3C85-3BDA5B7DF1DB}"/>
          </ac:picMkLst>
        </pc:picChg>
      </pc:sldChg>
      <pc:sldChg chg="modSp add mod">
        <pc:chgData name="Nadkarni, Nikhil" userId="8cb4e2ce-db3a-48d0-bf6f-d5eb8967a6f9" providerId="ADAL" clId="{3D8AE9CF-11A6-4709-B7E1-28958F68C423}" dt="2023-07-10T20:21:58.561" v="6741" actId="962"/>
        <pc:sldMkLst>
          <pc:docMk/>
          <pc:sldMk cId="243584219" sldId="1970"/>
        </pc:sldMkLst>
        <pc:spChg chg="mod">
          <ac:chgData name="Nadkarni, Nikhil" userId="8cb4e2ce-db3a-48d0-bf6f-d5eb8967a6f9" providerId="ADAL" clId="{3D8AE9CF-11A6-4709-B7E1-28958F68C423}" dt="2023-07-10T19:32:58.917" v="4391" actId="5793"/>
          <ac:spMkLst>
            <pc:docMk/>
            <pc:sldMk cId="243584219" sldId="1970"/>
            <ac:spMk id="3" creationId="{06AC962A-FABE-4F14-91E7-A91AD417ADFF}"/>
          </ac:spMkLst>
        </pc:spChg>
        <pc:spChg chg="mod">
          <ac:chgData name="Nadkarni, Nikhil" userId="8cb4e2ce-db3a-48d0-bf6f-d5eb8967a6f9" providerId="ADAL" clId="{3D8AE9CF-11A6-4709-B7E1-28958F68C423}" dt="2023-07-10T20:21:58.561" v="6741" actId="962"/>
          <ac:spMkLst>
            <pc:docMk/>
            <pc:sldMk cId="243584219" sldId="1970"/>
            <ac:spMk id="6" creationId="{0038D609-7001-4947-92BB-A379E0414168}"/>
          </ac:spMkLst>
        </pc:spChg>
      </pc:sldChg>
      <pc:sldChg chg="modSp add mod delCm">
        <pc:chgData name="Nadkarni, Nikhil" userId="8cb4e2ce-db3a-48d0-bf6f-d5eb8967a6f9" providerId="ADAL" clId="{3D8AE9CF-11A6-4709-B7E1-28958F68C423}" dt="2023-07-10T20:21:47.392" v="6735" actId="962"/>
        <pc:sldMkLst>
          <pc:docMk/>
          <pc:sldMk cId="472625034" sldId="1971"/>
        </pc:sldMkLst>
        <pc:spChg chg="mod">
          <ac:chgData name="Nadkarni, Nikhil" userId="8cb4e2ce-db3a-48d0-bf6f-d5eb8967a6f9" providerId="ADAL" clId="{3D8AE9CF-11A6-4709-B7E1-28958F68C423}" dt="2023-07-10T20:07:29.151" v="6495" actId="20577"/>
          <ac:spMkLst>
            <pc:docMk/>
            <pc:sldMk cId="472625034" sldId="1971"/>
            <ac:spMk id="3" creationId="{06AC962A-FABE-4F14-91E7-A91AD417ADFF}"/>
          </ac:spMkLst>
        </pc:spChg>
        <pc:spChg chg="mod">
          <ac:chgData name="Nadkarni, Nikhil" userId="8cb4e2ce-db3a-48d0-bf6f-d5eb8967a6f9" providerId="ADAL" clId="{3D8AE9CF-11A6-4709-B7E1-28958F68C423}" dt="2023-07-10T20:21:47.392" v="6735" actId="962"/>
          <ac:spMkLst>
            <pc:docMk/>
            <pc:sldMk cId="472625034" sldId="1971"/>
            <ac:spMk id="6" creationId="{0038D609-7001-4947-92BB-A379E0414168}"/>
          </ac:spMkLst>
        </pc:spChg>
        <pc:spChg chg="mod">
          <ac:chgData name="Nadkarni, Nikhil" userId="8cb4e2ce-db3a-48d0-bf6f-d5eb8967a6f9" providerId="ADAL" clId="{3D8AE9CF-11A6-4709-B7E1-28958F68C423}" dt="2023-07-10T20:08:27.951" v="6507" actId="20577"/>
          <ac:spMkLst>
            <pc:docMk/>
            <pc:sldMk cId="472625034" sldId="1971"/>
            <ac:spMk id="9" creationId="{BADF41E3-B302-4C05-B004-242B35D59BFB}"/>
          </ac:spMkLst>
        </pc:spChg>
        <pc:extLst>
          <p:ext xmlns:p="http://schemas.openxmlformats.org/presentationml/2006/main" uri="{D6D511B9-2390-475A-947B-AFAB55BFBCF1}">
            <pc226:cmChg xmlns:pc226="http://schemas.microsoft.com/office/powerpoint/2022/06/main/command" chg="del">
              <pc226:chgData name="Nadkarni, Nikhil" userId="8cb4e2ce-db3a-48d0-bf6f-d5eb8967a6f9" providerId="ADAL" clId="{3D8AE9CF-11A6-4709-B7E1-28958F68C423}" dt="2023-07-10T16:44:03.359" v="977"/>
              <pc2:cmMkLst xmlns:pc2="http://schemas.microsoft.com/office/powerpoint/2019/9/main/command">
                <pc:docMk/>
                <pc:sldMk cId="472625034" sldId="1971"/>
                <pc2:cmMk id="{BDBB79D5-D3B7-4BC5-A919-FB18355E7910}"/>
              </pc2:cmMkLst>
            </pc226:cmChg>
          </p:ext>
        </pc:extLst>
      </pc:sldChg>
      <pc:sldChg chg="addSp delSp modSp add mod">
        <pc:chgData name="Nadkarni, Nikhil" userId="8cb4e2ce-db3a-48d0-bf6f-d5eb8967a6f9" providerId="ADAL" clId="{3D8AE9CF-11A6-4709-B7E1-28958F68C423}" dt="2023-07-10T20:25:42.132" v="7950" actId="962"/>
        <pc:sldMkLst>
          <pc:docMk/>
          <pc:sldMk cId="175234593" sldId="1972"/>
        </pc:sldMkLst>
        <pc:spChg chg="mod">
          <ac:chgData name="Nadkarni, Nikhil" userId="8cb4e2ce-db3a-48d0-bf6f-d5eb8967a6f9" providerId="ADAL" clId="{3D8AE9CF-11A6-4709-B7E1-28958F68C423}" dt="2023-07-10T17:01:39.533" v="2106" actId="20577"/>
          <ac:spMkLst>
            <pc:docMk/>
            <pc:sldMk cId="175234593" sldId="1972"/>
            <ac:spMk id="2" creationId="{71ECDFDF-B56B-4C43-BBBF-D35CEE5E475F}"/>
          </ac:spMkLst>
        </pc:spChg>
        <pc:spChg chg="del mod">
          <ac:chgData name="Nadkarni, Nikhil" userId="8cb4e2ce-db3a-48d0-bf6f-d5eb8967a6f9" providerId="ADAL" clId="{3D8AE9CF-11A6-4709-B7E1-28958F68C423}" dt="2023-07-10T17:01:43.150" v="2108" actId="478"/>
          <ac:spMkLst>
            <pc:docMk/>
            <pc:sldMk cId="175234593" sldId="1972"/>
            <ac:spMk id="3" creationId="{06AC962A-FABE-4F14-91E7-A91AD417ADFF}"/>
          </ac:spMkLst>
        </pc:spChg>
        <pc:spChg chg="add mod">
          <ac:chgData name="Nadkarni, Nikhil" userId="8cb4e2ce-db3a-48d0-bf6f-d5eb8967a6f9" providerId="ADAL" clId="{3D8AE9CF-11A6-4709-B7E1-28958F68C423}" dt="2023-07-10T20:05:05.817" v="6375"/>
          <ac:spMkLst>
            <pc:docMk/>
            <pc:sldMk cId="175234593" sldId="1972"/>
            <ac:spMk id="4" creationId="{8F6A06A7-FFFD-A2F5-F721-592EDB8AAA09}"/>
          </ac:spMkLst>
        </pc:spChg>
        <pc:spChg chg="mod">
          <ac:chgData name="Nadkarni, Nikhil" userId="8cb4e2ce-db3a-48d0-bf6f-d5eb8967a6f9" providerId="ADAL" clId="{3D8AE9CF-11A6-4709-B7E1-28958F68C423}" dt="2023-07-10T20:22:04.697" v="6744" actId="962"/>
          <ac:spMkLst>
            <pc:docMk/>
            <pc:sldMk cId="175234593" sldId="1972"/>
            <ac:spMk id="6" creationId="{0038D609-7001-4947-92BB-A379E0414168}"/>
          </ac:spMkLst>
        </pc:spChg>
        <pc:spChg chg="add mod">
          <ac:chgData name="Nadkarni, Nikhil" userId="8cb4e2ce-db3a-48d0-bf6f-d5eb8967a6f9" providerId="ADAL" clId="{3D8AE9CF-11A6-4709-B7E1-28958F68C423}" dt="2023-07-10T20:05:05.817" v="6375"/>
          <ac:spMkLst>
            <pc:docMk/>
            <pc:sldMk cId="175234593" sldId="1972"/>
            <ac:spMk id="7" creationId="{ACB251AD-130B-1E9A-527E-F944D052EF3D}"/>
          </ac:spMkLst>
        </pc:spChg>
        <pc:spChg chg="mod">
          <ac:chgData name="Nadkarni, Nikhil" userId="8cb4e2ce-db3a-48d0-bf6f-d5eb8967a6f9" providerId="ADAL" clId="{3D8AE9CF-11A6-4709-B7E1-28958F68C423}" dt="2023-07-10T20:08:31.680" v="6511" actId="20577"/>
          <ac:spMkLst>
            <pc:docMk/>
            <pc:sldMk cId="175234593" sldId="1972"/>
            <ac:spMk id="9" creationId="{BADF41E3-B302-4C05-B004-242B35D59BFB}"/>
          </ac:spMkLst>
        </pc:spChg>
        <pc:spChg chg="add mod">
          <ac:chgData name="Nadkarni, Nikhil" userId="8cb4e2ce-db3a-48d0-bf6f-d5eb8967a6f9" providerId="ADAL" clId="{3D8AE9CF-11A6-4709-B7E1-28958F68C423}" dt="2023-07-10T20:05:05.817" v="6375"/>
          <ac:spMkLst>
            <pc:docMk/>
            <pc:sldMk cId="175234593" sldId="1972"/>
            <ac:spMk id="10" creationId="{D141A10D-5B03-7E89-B4DE-3B8BE28B7D19}"/>
          </ac:spMkLst>
        </pc:spChg>
        <pc:graphicFrameChg chg="add mod">
          <ac:chgData name="Nadkarni, Nikhil" userId="8cb4e2ce-db3a-48d0-bf6f-d5eb8967a6f9" providerId="ADAL" clId="{3D8AE9CF-11A6-4709-B7E1-28958F68C423}" dt="2023-07-10T20:25:42.132" v="7950" actId="962"/>
          <ac:graphicFrameMkLst>
            <pc:docMk/>
            <pc:sldMk cId="175234593" sldId="1972"/>
            <ac:graphicFrameMk id="3" creationId="{B21E3827-1DB0-0D3E-8DCC-20E920E4B217}"/>
          </ac:graphicFrameMkLst>
        </pc:graphicFrameChg>
        <pc:picChg chg="add mod">
          <ac:chgData name="Nadkarni, Nikhil" userId="8cb4e2ce-db3a-48d0-bf6f-d5eb8967a6f9" providerId="ADAL" clId="{3D8AE9CF-11A6-4709-B7E1-28958F68C423}" dt="2023-07-10T20:05:05.817" v="6375"/>
          <ac:picMkLst>
            <pc:docMk/>
            <pc:sldMk cId="175234593" sldId="1972"/>
            <ac:picMk id="5" creationId="{34E7080A-BF57-D511-AB85-451D6AB36BD3}"/>
          </ac:picMkLst>
        </pc:picChg>
      </pc:sldChg>
      <pc:sldChg chg="addSp modSp add mod">
        <pc:chgData name="Nadkarni, Nikhil" userId="8cb4e2ce-db3a-48d0-bf6f-d5eb8967a6f9" providerId="ADAL" clId="{3D8AE9CF-11A6-4709-B7E1-28958F68C423}" dt="2023-07-10T20:23:27.103" v="7238" actId="962"/>
        <pc:sldMkLst>
          <pc:docMk/>
          <pc:sldMk cId="2953531974" sldId="1973"/>
        </pc:sldMkLst>
        <pc:spChg chg="add mod">
          <ac:chgData name="Nadkarni, Nikhil" userId="8cb4e2ce-db3a-48d0-bf6f-d5eb8967a6f9" providerId="ADAL" clId="{3D8AE9CF-11A6-4709-B7E1-28958F68C423}" dt="2023-07-10T20:21:34.769" v="6732" actId="962"/>
          <ac:spMkLst>
            <pc:docMk/>
            <pc:sldMk cId="2953531974" sldId="1973"/>
            <ac:spMk id="3" creationId="{226BD9C4-BF15-34A4-D236-D02E4550FE5C}"/>
          </ac:spMkLst>
        </pc:spChg>
        <pc:spChg chg="add mod">
          <ac:chgData name="Nadkarni, Nikhil" userId="8cb4e2ce-db3a-48d0-bf6f-d5eb8967a6f9" providerId="ADAL" clId="{3D8AE9CF-11A6-4709-B7E1-28958F68C423}" dt="2023-07-10T17:54:48.851" v="3217"/>
          <ac:spMkLst>
            <pc:docMk/>
            <pc:sldMk cId="2953531974" sldId="1973"/>
            <ac:spMk id="4" creationId="{B30C229C-2B06-2587-56A4-5343598C7417}"/>
          </ac:spMkLst>
        </pc:spChg>
        <pc:spChg chg="mod">
          <ac:chgData name="Nadkarni, Nikhil" userId="8cb4e2ce-db3a-48d0-bf6f-d5eb8967a6f9" providerId="ADAL" clId="{3D8AE9CF-11A6-4709-B7E1-28958F68C423}" dt="2023-07-10T20:21:24.737" v="6674" actId="962"/>
          <ac:spMkLst>
            <pc:docMk/>
            <pc:sldMk cId="2953531974" sldId="1973"/>
            <ac:spMk id="6" creationId="{0038D609-7001-4947-92BB-A379E0414168}"/>
          </ac:spMkLst>
        </pc:spChg>
        <pc:picChg chg="mod">
          <ac:chgData name="Nadkarni, Nikhil" userId="8cb4e2ce-db3a-48d0-bf6f-d5eb8967a6f9" providerId="ADAL" clId="{3D8AE9CF-11A6-4709-B7E1-28958F68C423}" dt="2023-07-10T20:23:27.103" v="7238" actId="962"/>
          <ac:picMkLst>
            <pc:docMk/>
            <pc:sldMk cId="2953531974" sldId="1973"/>
            <ac:picMk id="50" creationId="{A1F8D0D6-16E7-918C-6278-B9522CE6D9E9}"/>
          </ac:picMkLst>
        </pc:picChg>
      </pc:sldChg>
      <pc:sldChg chg="addSp delSp modSp add mod">
        <pc:chgData name="Nadkarni, Nikhil" userId="8cb4e2ce-db3a-48d0-bf6f-d5eb8967a6f9" providerId="ADAL" clId="{3D8AE9CF-11A6-4709-B7E1-28958F68C423}" dt="2023-07-10T20:24:52.607" v="7688" actId="962"/>
        <pc:sldMkLst>
          <pc:docMk/>
          <pc:sldMk cId="1745514758" sldId="1974"/>
        </pc:sldMkLst>
        <pc:spChg chg="mod">
          <ac:chgData name="Nadkarni, Nikhil" userId="8cb4e2ce-db3a-48d0-bf6f-d5eb8967a6f9" providerId="ADAL" clId="{3D8AE9CF-11A6-4709-B7E1-28958F68C423}" dt="2023-07-10T19:19:17.656" v="3829" actId="20577"/>
          <ac:spMkLst>
            <pc:docMk/>
            <pc:sldMk cId="1745514758" sldId="1974"/>
            <ac:spMk id="2" creationId="{71ECDFDF-B56B-4C43-BBBF-D35CEE5E475F}"/>
          </ac:spMkLst>
        </pc:spChg>
        <pc:spChg chg="mod">
          <ac:chgData name="Nadkarni, Nikhil" userId="8cb4e2ce-db3a-48d0-bf6f-d5eb8967a6f9" providerId="ADAL" clId="{3D8AE9CF-11A6-4709-B7E1-28958F68C423}" dt="2023-07-10T19:21:11.827" v="4039" actId="20577"/>
          <ac:spMkLst>
            <pc:docMk/>
            <pc:sldMk cId="1745514758" sldId="1974"/>
            <ac:spMk id="3" creationId="{06AC962A-FABE-4F14-91E7-A91AD417ADFF}"/>
          </ac:spMkLst>
        </pc:spChg>
        <pc:spChg chg="mod">
          <ac:chgData name="Nadkarni, Nikhil" userId="8cb4e2ce-db3a-48d0-bf6f-d5eb8967a6f9" providerId="ADAL" clId="{3D8AE9CF-11A6-4709-B7E1-28958F68C423}" dt="2023-07-10T20:22:12.433" v="6748" actId="962"/>
          <ac:spMkLst>
            <pc:docMk/>
            <pc:sldMk cId="1745514758" sldId="1974"/>
            <ac:spMk id="6" creationId="{0038D609-7001-4947-92BB-A379E0414168}"/>
          </ac:spMkLst>
        </pc:spChg>
        <pc:spChg chg="mod">
          <ac:chgData name="Nadkarni, Nikhil" userId="8cb4e2ce-db3a-48d0-bf6f-d5eb8967a6f9" providerId="ADAL" clId="{3D8AE9CF-11A6-4709-B7E1-28958F68C423}" dt="2023-07-10T19:21:25.942" v="4043" actId="20577"/>
          <ac:spMkLst>
            <pc:docMk/>
            <pc:sldMk cId="1745514758" sldId="1974"/>
            <ac:spMk id="9" creationId="{BADF41E3-B302-4C05-B004-242B35D59BFB}"/>
          </ac:spMkLst>
        </pc:spChg>
        <pc:picChg chg="add mod">
          <ac:chgData name="Nadkarni, Nikhil" userId="8cb4e2ce-db3a-48d0-bf6f-d5eb8967a6f9" providerId="ADAL" clId="{3D8AE9CF-11A6-4709-B7E1-28958F68C423}" dt="2023-07-10T20:24:36.450" v="7566" actId="962"/>
          <ac:picMkLst>
            <pc:docMk/>
            <pc:sldMk cId="1745514758" sldId="1974"/>
            <ac:picMk id="4" creationId="{C61A5505-5E8C-9D22-F113-0E5BDDA7B5C7}"/>
          </ac:picMkLst>
        </pc:picChg>
        <pc:picChg chg="del">
          <ac:chgData name="Nadkarni, Nikhil" userId="8cb4e2ce-db3a-48d0-bf6f-d5eb8967a6f9" providerId="ADAL" clId="{3D8AE9CF-11A6-4709-B7E1-28958F68C423}" dt="2023-07-10T19:14:02.724" v="3672" actId="21"/>
          <ac:picMkLst>
            <pc:docMk/>
            <pc:sldMk cId="1745514758" sldId="1974"/>
            <ac:picMk id="5" creationId="{5BA58F11-F945-3CA1-B968-9BC0A0E02431}"/>
          </ac:picMkLst>
        </pc:picChg>
        <pc:picChg chg="add mod">
          <ac:chgData name="Nadkarni, Nikhil" userId="8cb4e2ce-db3a-48d0-bf6f-d5eb8967a6f9" providerId="ADAL" clId="{3D8AE9CF-11A6-4709-B7E1-28958F68C423}" dt="2023-07-10T20:24:52.607" v="7688" actId="962"/>
          <ac:picMkLst>
            <pc:docMk/>
            <pc:sldMk cId="1745514758" sldId="1974"/>
            <ac:picMk id="7" creationId="{F80A9202-A2C5-9E92-EBB6-2C4A9CFED7CC}"/>
          </ac:picMkLst>
        </pc:picChg>
        <pc:picChg chg="del">
          <ac:chgData name="Nadkarni, Nikhil" userId="8cb4e2ce-db3a-48d0-bf6f-d5eb8967a6f9" providerId="ADAL" clId="{3D8AE9CF-11A6-4709-B7E1-28958F68C423}" dt="2023-07-10T19:14:02.724" v="3672" actId="21"/>
          <ac:picMkLst>
            <pc:docMk/>
            <pc:sldMk cId="1745514758" sldId="1974"/>
            <ac:picMk id="10" creationId="{7DE6C690-F5FC-D904-1697-C4789E2EBE23}"/>
          </ac:picMkLst>
        </pc:picChg>
        <pc:picChg chg="del">
          <ac:chgData name="Nadkarni, Nikhil" userId="8cb4e2ce-db3a-48d0-bf6f-d5eb8967a6f9" providerId="ADAL" clId="{3D8AE9CF-11A6-4709-B7E1-28958F68C423}" dt="2023-07-10T19:14:02.724" v="3672" actId="21"/>
          <ac:picMkLst>
            <pc:docMk/>
            <pc:sldMk cId="1745514758" sldId="1974"/>
            <ac:picMk id="16" creationId="{91F5EBE7-E239-A197-1C89-9368475D70B7}"/>
          </ac:picMkLst>
        </pc:picChg>
      </pc:sldChg>
      <pc:sldChg chg="modSp add mod">
        <pc:chgData name="Nadkarni, Nikhil" userId="8cb4e2ce-db3a-48d0-bf6f-d5eb8967a6f9" providerId="ADAL" clId="{3D8AE9CF-11A6-4709-B7E1-28958F68C423}" dt="2023-07-10T20:25:28.433" v="7864" actId="962"/>
        <pc:sldMkLst>
          <pc:docMk/>
          <pc:sldMk cId="2184168918" sldId="1975"/>
        </pc:sldMkLst>
        <pc:spChg chg="mod">
          <ac:chgData name="Nadkarni, Nikhil" userId="8cb4e2ce-db3a-48d0-bf6f-d5eb8967a6f9" providerId="ADAL" clId="{3D8AE9CF-11A6-4709-B7E1-28958F68C423}" dt="2023-07-10T19:34:44.422" v="4436" actId="20577"/>
          <ac:spMkLst>
            <pc:docMk/>
            <pc:sldMk cId="2184168918" sldId="1975"/>
            <ac:spMk id="2" creationId="{71ECDFDF-B56B-4C43-BBBF-D35CEE5E475F}"/>
          </ac:spMkLst>
        </pc:spChg>
        <pc:spChg chg="mod">
          <ac:chgData name="Nadkarni, Nikhil" userId="8cb4e2ce-db3a-48d0-bf6f-d5eb8967a6f9" providerId="ADAL" clId="{3D8AE9CF-11A6-4709-B7E1-28958F68C423}" dt="2023-07-10T19:58:34.031" v="5633" actId="20577"/>
          <ac:spMkLst>
            <pc:docMk/>
            <pc:sldMk cId="2184168918" sldId="1975"/>
            <ac:spMk id="3" creationId="{06AC962A-FABE-4F14-91E7-A91AD417ADFF}"/>
          </ac:spMkLst>
        </pc:spChg>
        <pc:spChg chg="mod">
          <ac:chgData name="Nadkarni, Nikhil" userId="8cb4e2ce-db3a-48d0-bf6f-d5eb8967a6f9" providerId="ADAL" clId="{3D8AE9CF-11A6-4709-B7E1-28958F68C423}" dt="2023-07-10T20:25:28.433" v="7864" actId="962"/>
          <ac:spMkLst>
            <pc:docMk/>
            <pc:sldMk cId="2184168918" sldId="1975"/>
            <ac:spMk id="6" creationId="{0038D609-7001-4947-92BB-A379E0414168}"/>
          </ac:spMkLst>
        </pc:spChg>
      </pc:sldChg>
      <pc:sldChg chg="modSp add mod">
        <pc:chgData name="Nadkarni, Nikhil" userId="8cb4e2ce-db3a-48d0-bf6f-d5eb8967a6f9" providerId="ADAL" clId="{3D8AE9CF-11A6-4709-B7E1-28958F68C423}" dt="2023-07-10T20:25:31.585" v="7866" actId="962"/>
        <pc:sldMkLst>
          <pc:docMk/>
          <pc:sldMk cId="1562900042" sldId="1976"/>
        </pc:sldMkLst>
        <pc:spChg chg="mod">
          <ac:chgData name="Nadkarni, Nikhil" userId="8cb4e2ce-db3a-48d0-bf6f-d5eb8967a6f9" providerId="ADAL" clId="{3D8AE9CF-11A6-4709-B7E1-28958F68C423}" dt="2023-07-10T20:01:36.688" v="5875" actId="20577"/>
          <ac:spMkLst>
            <pc:docMk/>
            <pc:sldMk cId="1562900042" sldId="1976"/>
            <ac:spMk id="2" creationId="{71ECDFDF-B56B-4C43-BBBF-D35CEE5E475F}"/>
          </ac:spMkLst>
        </pc:spChg>
        <pc:spChg chg="mod">
          <ac:chgData name="Nadkarni, Nikhil" userId="8cb4e2ce-db3a-48d0-bf6f-d5eb8967a6f9" providerId="ADAL" clId="{3D8AE9CF-11A6-4709-B7E1-28958F68C423}" dt="2023-07-10T20:06:53.012" v="6417"/>
          <ac:spMkLst>
            <pc:docMk/>
            <pc:sldMk cId="1562900042" sldId="1976"/>
            <ac:spMk id="3" creationId="{06AC962A-FABE-4F14-91E7-A91AD417ADFF}"/>
          </ac:spMkLst>
        </pc:spChg>
        <pc:spChg chg="mod">
          <ac:chgData name="Nadkarni, Nikhil" userId="8cb4e2ce-db3a-48d0-bf6f-d5eb8967a6f9" providerId="ADAL" clId="{3D8AE9CF-11A6-4709-B7E1-28958F68C423}" dt="2023-07-10T20:25:31.585" v="7866" actId="962"/>
          <ac:spMkLst>
            <pc:docMk/>
            <pc:sldMk cId="1562900042" sldId="1976"/>
            <ac:spMk id="6" creationId="{0038D609-7001-4947-92BB-A379E0414168}"/>
          </ac:spMkLst>
        </pc:spChg>
        <pc:spChg chg="mod">
          <ac:chgData name="Nadkarni, Nikhil" userId="8cb4e2ce-db3a-48d0-bf6f-d5eb8967a6f9" providerId="ADAL" clId="{3D8AE9CF-11A6-4709-B7E1-28958F68C423}" dt="2023-07-10T20:08:23.567" v="6503" actId="20577"/>
          <ac:spMkLst>
            <pc:docMk/>
            <pc:sldMk cId="1562900042" sldId="1976"/>
            <ac:spMk id="9" creationId="{BADF41E3-B302-4C05-B004-242B35D59BFB}"/>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581903904676437E-2"/>
          <c:y val="2.253032848238945E-2"/>
          <c:w val="0.87843763828277588"/>
          <c:h val="0.95493936538696289"/>
        </c:manualLayout>
      </c:layout>
      <c:pieChart>
        <c:varyColors val="0"/>
        <c:ser>
          <c:idx val="0"/>
          <c:order val="0"/>
          <c:dPt>
            <c:idx val="0"/>
            <c:bubble3D val="0"/>
            <c:spPr>
              <a:solidFill>
                <a:schemeClr val="accent1"/>
              </a:solidFill>
              <a:ln>
                <a:no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1-737C-467A-95ED-B72AD17F996E}"/>
              </c:ext>
            </c:extLst>
          </c:dPt>
          <c:dPt>
            <c:idx val="1"/>
            <c:bubble3D val="0"/>
            <c:spPr>
              <a:solidFill>
                <a:schemeClr val="accent2"/>
              </a:solidFill>
              <a:ln>
                <a:no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737C-467A-95ED-B72AD17F996E}"/>
              </c:ext>
            </c:extLst>
          </c:dPt>
          <c:dPt>
            <c:idx val="2"/>
            <c:bubble3D val="0"/>
            <c:spPr>
              <a:solidFill>
                <a:schemeClr val="accent3"/>
              </a:solidFill>
              <a:ln>
                <a:no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5-737C-467A-95ED-B72AD17F996E}"/>
              </c:ext>
            </c:extLst>
          </c:dPt>
          <c:dLbls>
            <c:dLbl>
              <c:idx val="0"/>
              <c:layout>
                <c:manualLayout>
                  <c:x val="-0.19765365123748779"/>
                  <c:y val="-9.4025842845439911E-2"/>
                </c:manualLayout>
              </c:layout>
              <c:numFmt formatCode="#,##0&quot;%&quot;;&quot;-&quot;#,##0&quot;%&quot;" sourceLinked="0"/>
              <c:spPr>
                <a:noFill/>
                <a:ln>
                  <a:noFill/>
                </a:ln>
              </c:spPr>
              <c:txPr>
                <a:bodyPr wrap="none"/>
                <a:lstStyle/>
                <a:p>
                  <a:pPr>
                    <a:defRPr sz="2800" kern="1200" smtId="4294967295">
                      <a:solidFill>
                        <a:schemeClr val="bg1"/>
                      </a:solidFill>
                      <a:latin typeface="+mn-lt"/>
                      <a:ea typeface="+mn-ea"/>
                      <a:cs typeface="+mn-cs"/>
                    </a:defRPr>
                  </a:pPr>
                  <a:endParaRPr lang="en-US"/>
                </a:p>
              </c:txPr>
              <c:dLblPos val="bestFit"/>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737C-467A-95ED-B72AD17F996E}"/>
                </c:ext>
              </c:extLst>
            </c:dLbl>
            <c:dLbl>
              <c:idx val="1"/>
              <c:layout>
                <c:manualLayout>
                  <c:x val="-8.7684333324432373E-2"/>
                  <c:y val="-0.10398613661527634"/>
                </c:manualLayout>
              </c:layout>
              <c:numFmt formatCode="#,##0&quot;%&quot;;&quot;-&quot;#,##0&quot;%&quot;" sourceLinked="0"/>
              <c:spPr>
                <a:noFill/>
                <a:ln>
                  <a:noFill/>
                </a:ln>
              </c:spPr>
              <c:txPr>
                <a:bodyPr wrap="none"/>
                <a:lstStyle/>
                <a:p>
                  <a:pPr>
                    <a:defRPr sz="2800" kern="1200" smtId="4294967295">
                      <a:solidFill>
                        <a:schemeClr val="tx1"/>
                      </a:solidFill>
                      <a:latin typeface="+mn-lt"/>
                      <a:ea typeface="+mn-ea"/>
                      <a:cs typeface="+mn-cs"/>
                    </a:defRPr>
                  </a:pPr>
                  <a:endParaRPr lang="en-US"/>
                </a:p>
              </c:txPr>
              <c:dLblPos val="ct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737C-467A-95ED-B72AD17F996E}"/>
                </c:ext>
              </c:extLst>
            </c:dLbl>
            <c:dLbl>
              <c:idx val="2"/>
              <c:layout>
                <c:manualLayout>
                  <c:x val="-3.3878039568662643E-2"/>
                  <c:y val="-0.16767764091491699"/>
                </c:manualLayout>
              </c:layout>
              <c:numFmt formatCode="#,##0&quot;%&quot;;&quot;-&quot;#,##0&quot;%&quot;" sourceLinked="0"/>
              <c:spPr>
                <a:noFill/>
                <a:ln>
                  <a:noFill/>
                </a:ln>
              </c:spPr>
              <c:txPr>
                <a:bodyPr wrap="none"/>
                <a:lstStyle/>
                <a:p>
                  <a:pPr>
                    <a:defRPr sz="2800" kern="1200" smtId="4294967295">
                      <a:solidFill>
                        <a:schemeClr val="bg1"/>
                      </a:solidFill>
                      <a:latin typeface="+mn-lt"/>
                      <a:ea typeface="+mn-ea"/>
                      <a:cs typeface="+mn-cs"/>
                    </a:defRPr>
                  </a:pPr>
                  <a:endParaRPr lang="en-US"/>
                </a:p>
              </c:txPr>
              <c:dLblPos val="ct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737C-467A-95ED-B72AD17F996E}"/>
                </c:ext>
              </c:extLst>
            </c:dLbl>
            <c:spPr>
              <a:noFill/>
              <a:ln>
                <a:noFill/>
              </a:ln>
              <a:effectLst/>
            </c:spPr>
            <c:showLegendKey val="0"/>
            <c:showVal val="0"/>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Lst>
          </c:dLbls>
          <c:val>
            <c:numRef>
              <c:f>Sheet1!$A$1:$A$3</c:f>
              <c:numCache>
                <c:formatCode>General</c:formatCode>
                <c:ptCount val="3"/>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6-737C-467A-95ED-B72AD17F996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581905141490637E-2"/>
          <c:y val="2.2530329289428077E-2"/>
          <c:w val="0.87843762455161423"/>
          <c:h val="0.954939341421143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1-5A40-4512-B26B-A3A0EEC497CC}"/>
              </c:ext>
            </c:extLst>
          </c:dPt>
          <c:dPt>
            <c:idx val="1"/>
            <c:bubble3D val="0"/>
            <c:spPr>
              <a:solidFill>
                <a:schemeClr val="accent2"/>
              </a:solidFill>
              <a:ln>
                <a:noFill/>
              </a:ln>
            </c:spPr>
            <c:extLst>
              <c:ext xmlns:c16="http://schemas.microsoft.com/office/drawing/2014/chart" uri="{C3380CC4-5D6E-409C-BE32-E72D297353CC}">
                <c16:uniqueId val="{00000003-5A40-4512-B26B-A3A0EEC497CC}"/>
              </c:ext>
            </c:extLst>
          </c:dPt>
          <c:dPt>
            <c:idx val="2"/>
            <c:bubble3D val="0"/>
            <c:spPr>
              <a:solidFill>
                <a:schemeClr val="accent3"/>
              </a:solidFill>
              <a:ln>
                <a:noFill/>
              </a:ln>
            </c:spPr>
            <c:extLst>
              <c:ext xmlns:c16="http://schemas.microsoft.com/office/drawing/2014/chart" uri="{C3380CC4-5D6E-409C-BE32-E72D297353CC}">
                <c16:uniqueId val="{00000005-5A40-4512-B26B-A3A0EEC497CC}"/>
              </c:ext>
            </c:extLst>
          </c:dPt>
          <c:dLbls>
            <c:dLbl>
              <c:idx val="0"/>
              <c:layout>
                <c:manualLayout>
                  <c:x val="-0.19765365030411461"/>
                  <c:y val="-9.4025846422576859E-2"/>
                </c:manualLayout>
              </c:layout>
              <c:numFmt formatCode="#,##0&quot;%&quot;;&quot;-&quot;#,##0&quot;%&quot;" sourceLinked="0"/>
              <c:spPr>
                <a:noFill/>
                <a:ln>
                  <a:noFill/>
                </a:ln>
              </c:spPr>
              <c:txPr>
                <a:bodyPr wrap="none"/>
                <a:lstStyle/>
                <a:p>
                  <a:pPr>
                    <a:defRPr sz="2800"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40-4512-B26B-A3A0EEC497CC}"/>
                </c:ext>
              </c:extLst>
            </c:dLbl>
            <c:dLbl>
              <c:idx val="1"/>
              <c:layout>
                <c:manualLayout>
                  <c:x val="-8.7684336388999598E-2"/>
                  <c:y val="-0.10398613518197573"/>
                </c:manualLayout>
              </c:layout>
              <c:numFmt formatCode="#,##0&quot;%&quot;;&quot;-&quot;#,##0&quot;%&quot;" sourceLinked="0"/>
              <c:spPr>
                <a:noFill/>
                <a:ln>
                  <a:noFill/>
                </a:ln>
              </c:spPr>
              <c:txPr>
                <a:bodyPr wrap="none"/>
                <a:lstStyle/>
                <a:p>
                  <a:pPr>
                    <a:defRPr sz="2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40-4512-B26B-A3A0EEC497CC}"/>
                </c:ext>
              </c:extLst>
            </c:dLbl>
            <c:dLbl>
              <c:idx val="2"/>
              <c:layout>
                <c:manualLayout>
                  <c:x val="-3.387803905938621E-2"/>
                  <c:y val="-0.16767764298093588"/>
                </c:manualLayout>
              </c:layout>
              <c:numFmt formatCode="#,##0&quot;%&quot;;&quot;-&quot;#,##0&quot;%&quot;" sourceLinked="0"/>
              <c:spPr>
                <a:noFill/>
                <a:ln>
                  <a:noFill/>
                </a:ln>
              </c:spPr>
              <c:txPr>
                <a:bodyPr wrap="none"/>
                <a:lstStyle/>
                <a:p>
                  <a:pPr>
                    <a:defRPr sz="2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40-4512-B26B-A3A0EEC497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3</c:v>
                </c:pt>
                <c:pt idx="1">
                  <c:v>10</c:v>
                </c:pt>
                <c:pt idx="2">
                  <c:v>7.0000000000000009</c:v>
                </c:pt>
              </c:numCache>
            </c:numRef>
          </c:val>
          <c:extLst>
            <c:ext xmlns:c16="http://schemas.microsoft.com/office/drawing/2014/chart" uri="{C3380CC4-5D6E-409C-BE32-E72D297353CC}">
              <c16:uniqueId val="{00000006-5A40-4512-B26B-A3A0EEC497C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_rels/data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4A099B-3F3B-4D64-B644-8A93D3D2F41B}"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95D52A93-C507-49F7-B5AD-A018D3675E6E}" type="parTrans" cxnId="{9501AF14-7654-4BD6-B019-024626F155EC}">
      <dgm:prSet custT="1"/>
      <dgm:spPr/>
      <dgm:t>
        <a:bodyPr/>
        <a:lstStyle/>
        <a:p>
          <a:endParaRPr lang="en-US" sz="2400">
            <a:latin typeface="Arial" panose="020B0604020202020204" pitchFamily="34" charset="0"/>
            <a:cs typeface="Arial" panose="020B0604020202020204" pitchFamily="34" charset="0"/>
          </a:endParaRPr>
        </a:p>
      </dgm:t>
    </dgm:pt>
    <dgm:pt modelId="{60AA5E28-2DC2-4B5D-8F41-F6333A758590}">
      <dgm:prSet custT="1"/>
      <dgm:spPr/>
      <dgm:t>
        <a:bodyPr>
          <a:noAutofit/>
        </a:bodyPr>
        <a:lstStyle/>
        <a:p>
          <a:pPr rtl="0">
            <a:lnSpc>
              <a:spcPct val="100000"/>
            </a:lnSpc>
          </a:pPr>
          <a:r>
            <a:rPr lang="zh-Hans" sz="2800" b="0" i="0" u="none" strike="noStrike">
              <a:highlight>
                <a:srgbClr val="000000">
                  <a:alpha val="0"/>
                </a:srgbClr>
              </a:highlight>
              <a:latin typeface="Simsun"/>
              <a:ea typeface="Simsun"/>
              <a:cs typeface="Arial"/>
            </a:rPr>
            <a:t>您将在关闭视频和麦克风的情况下加入会议</a:t>
          </a:r>
        </a:p>
      </dgm:t>
    </dgm:pt>
    <dgm:pt modelId="{740381F6-8F65-45E6-834C-2BFFFDA34B52}" type="sibTrans" cxnId="{9501AF14-7654-4BD6-B019-024626F155EC}">
      <dgm:prSet custT="1"/>
      <dgm:spPr/>
      <dgm:t>
        <a:bodyPr/>
        <a:lstStyle/>
        <a:p>
          <a:pPr>
            <a:lnSpc>
              <a:spcPct val="100000"/>
            </a:lnSpc>
          </a:pPr>
          <a:endParaRPr lang="en-US" sz="2400">
            <a:latin typeface="Arial" panose="020B0604020202020204" pitchFamily="34" charset="0"/>
            <a:cs typeface="Arial" panose="020B0604020202020204" pitchFamily="34" charset="0"/>
          </a:endParaRPr>
        </a:p>
      </dgm:t>
    </dgm:pt>
    <dgm:pt modelId="{7F0419C9-5227-4483-9FFF-F50F7AABB817}" type="parTrans" cxnId="{A1F60AD2-0411-407E-8716-C46CF8F39D85}">
      <dgm:prSet custT="1"/>
      <dgm:spPr/>
      <dgm:t>
        <a:bodyPr/>
        <a:lstStyle/>
        <a:p>
          <a:endParaRPr lang="en-US" sz="2400">
            <a:latin typeface="Arial" panose="020B0604020202020204" pitchFamily="34" charset="0"/>
            <a:cs typeface="Arial" panose="020B0604020202020204" pitchFamily="34" charset="0"/>
          </a:endParaRPr>
        </a:p>
      </dgm:t>
    </dgm:pt>
    <dgm:pt modelId="{2AB3197D-3839-4BA2-A797-8FE2069BC1A3}">
      <dgm:prSet custT="1"/>
      <dgm:spPr/>
      <dgm:t>
        <a:bodyPr>
          <a:noAutofit/>
        </a:bodyPr>
        <a:lstStyle/>
        <a:p>
          <a:pPr rtl="0">
            <a:lnSpc>
              <a:spcPct val="100000"/>
            </a:lnSpc>
          </a:pPr>
          <a:r>
            <a:rPr lang="zh-Hans" sz="2800" b="0" i="0" u="none" strike="noStrike">
              <a:highlight>
                <a:srgbClr val="000000">
                  <a:alpha val="0"/>
                </a:srgbClr>
              </a:highlight>
              <a:latin typeface="Simsun"/>
              <a:ea typeface="Simsun"/>
              <a:cs typeface="Arial"/>
            </a:rPr>
            <a:t>您可以在 Zoom 问答面板中输入书面问题或评论</a:t>
          </a:r>
        </a:p>
      </dgm:t>
    </dgm:pt>
    <dgm:pt modelId="{C6BC1EE2-6297-4F68-9F23-E980040404AF}" type="sibTrans" cxnId="{A1F60AD2-0411-407E-8716-C46CF8F39D85}">
      <dgm:prSet custT="1"/>
      <dgm:spPr/>
      <dgm:t>
        <a:bodyPr/>
        <a:lstStyle/>
        <a:p>
          <a:pPr>
            <a:lnSpc>
              <a:spcPct val="100000"/>
            </a:lnSpc>
          </a:pPr>
          <a:endParaRPr lang="en-US" sz="2400">
            <a:latin typeface="Arial" panose="020B0604020202020204" pitchFamily="34" charset="0"/>
            <a:cs typeface="Arial" panose="020B0604020202020204" pitchFamily="34" charset="0"/>
          </a:endParaRPr>
        </a:p>
      </dgm:t>
    </dgm:pt>
    <dgm:pt modelId="{096F9BD3-7F33-45CB-B446-E78EE4310BCE}" type="pres">
      <dgm:prSet presAssocID="{4F4A099B-3F3B-4D64-B644-8A93D3D2F41B}" presName="root" presStyleCnt="0">
        <dgm:presLayoutVars>
          <dgm:dir/>
          <dgm:resizeHandles val="exact"/>
        </dgm:presLayoutVars>
      </dgm:prSet>
      <dgm:spPr/>
    </dgm:pt>
    <dgm:pt modelId="{F54E6E22-3A5E-4463-AFB2-61ED98D201A7}" type="pres">
      <dgm:prSet presAssocID="{4F4A099B-3F3B-4D64-B644-8A93D3D2F41B}" presName="container" presStyleCnt="0">
        <dgm:presLayoutVars>
          <dgm:dir/>
          <dgm:resizeHandles val="exact"/>
        </dgm:presLayoutVars>
      </dgm:prSet>
      <dgm:spPr/>
    </dgm:pt>
    <dgm:pt modelId="{E1AB4095-DF5E-4992-98A2-5942995E7073}" type="pres">
      <dgm:prSet presAssocID="{60AA5E28-2DC2-4B5D-8F41-F6333A758590}" presName="compNode" presStyleCnt="0"/>
      <dgm:spPr/>
    </dgm:pt>
    <dgm:pt modelId="{DF4A8D10-EC50-4AB5-AA36-8641C228503D}" type="pres">
      <dgm:prSet presAssocID="{60AA5E28-2DC2-4B5D-8F41-F6333A758590}" presName="iconBgRect" presStyleLbl="bgShp" presStyleIdx="0" presStyleCnt="2"/>
      <dgm:spPr/>
    </dgm:pt>
    <dgm:pt modelId="{79A50BC8-DD6D-455A-84E9-CAC77FC1A1C5}" type="pres">
      <dgm:prSet presAssocID="{60AA5E28-2DC2-4B5D-8F41-F6333A758590}" presName="iconRect" presStyleLbl="node1" presStyleIdx="0" presStyleCnt="2" custScaleX="133197" custScaleY="13319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with solid fill"/>
        </a:ext>
      </dgm:extLst>
    </dgm:pt>
    <dgm:pt modelId="{4148BBF7-0768-4FEC-99FD-1DB593AB1125}" type="pres">
      <dgm:prSet presAssocID="{60AA5E28-2DC2-4B5D-8F41-F6333A758590}" presName="spaceRect" presStyleCnt="0"/>
      <dgm:spPr/>
    </dgm:pt>
    <dgm:pt modelId="{13F8F3C7-A9EB-4CC0-B17F-94578B3204DE}" type="pres">
      <dgm:prSet presAssocID="{60AA5E28-2DC2-4B5D-8F41-F6333A758590}" presName="textRect" presStyleLbl="revTx" presStyleIdx="0" presStyleCnt="2">
        <dgm:presLayoutVars>
          <dgm:chMax val="1"/>
          <dgm:chPref val="1"/>
        </dgm:presLayoutVars>
      </dgm:prSet>
      <dgm:spPr/>
    </dgm:pt>
    <dgm:pt modelId="{223A61D7-27B3-41FD-916E-BE2BE026F678}" type="pres">
      <dgm:prSet presAssocID="{740381F6-8F65-45E6-834C-2BFFFDA34B52}" presName="sibTrans" presStyleLbl="sibTrans2D1" presStyleIdx="0" presStyleCnt="0"/>
      <dgm:spPr/>
    </dgm:pt>
    <dgm:pt modelId="{934EFC36-7224-41C5-AD4F-0CAB4BC10557}" type="pres">
      <dgm:prSet presAssocID="{2AB3197D-3839-4BA2-A797-8FE2069BC1A3}" presName="compNode" presStyleCnt="0"/>
      <dgm:spPr/>
    </dgm:pt>
    <dgm:pt modelId="{65AB2DA9-120A-4C91-8EAD-3AA77E040AB4}" type="pres">
      <dgm:prSet presAssocID="{2AB3197D-3839-4BA2-A797-8FE2069BC1A3}" presName="iconBgRect" presStyleLbl="bgShp" presStyleIdx="1" presStyleCnt="2"/>
      <dgm:spPr/>
    </dgm:pt>
    <dgm:pt modelId="{6C4C39E3-A30E-4C95-A570-879E2759E563}" type="pres">
      <dgm:prSet presAssocID="{2AB3197D-3839-4BA2-A797-8FE2069BC1A3}" presName="iconRect" presStyleLbl="node1" presStyleIdx="1" presStyleCnt="2" custScaleX="137446" custScaleY="13744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F494E221-DD2D-446B-85C0-D033EAFCBFDC}" type="pres">
      <dgm:prSet presAssocID="{2AB3197D-3839-4BA2-A797-8FE2069BC1A3}" presName="spaceRect" presStyleCnt="0"/>
      <dgm:spPr/>
    </dgm:pt>
    <dgm:pt modelId="{56149493-6F81-4646-A1F4-6363391C9DB6}" type="pres">
      <dgm:prSet presAssocID="{2AB3197D-3839-4BA2-A797-8FE2069BC1A3}" presName="textRect" presStyleLbl="revTx" presStyleIdx="1" presStyleCnt="2">
        <dgm:presLayoutVars>
          <dgm:chMax val="1"/>
          <dgm:chPref val="1"/>
        </dgm:presLayoutVars>
      </dgm:prSet>
      <dgm:spPr/>
    </dgm:pt>
  </dgm:ptLst>
  <dgm:cxnLst>
    <dgm:cxn modelId="{9501AF14-7654-4BD6-B019-024626F155EC}" srcId="{4F4A099B-3F3B-4D64-B644-8A93D3D2F41B}" destId="{60AA5E28-2DC2-4B5D-8F41-F6333A758590}" srcOrd="0" destOrd="0" parTransId="{95D52A93-C507-49F7-B5AD-A018D3675E6E}" sibTransId="{740381F6-8F65-45E6-834C-2BFFFDA34B52}"/>
    <dgm:cxn modelId="{CFEBE027-DF46-4581-9BE3-CD72AF894DB9}" type="presOf" srcId="{740381F6-8F65-45E6-834C-2BFFFDA34B52}" destId="{223A61D7-27B3-41FD-916E-BE2BE026F678}" srcOrd="0" destOrd="0" presId="urn:microsoft.com/office/officeart/2018/2/layout/IconCircleList"/>
    <dgm:cxn modelId="{CE3B4F2D-AC09-487D-B900-5D09134BA8D7}" type="presOf" srcId="{60AA5E28-2DC2-4B5D-8F41-F6333A758590}" destId="{13F8F3C7-A9EB-4CC0-B17F-94578B3204DE}" srcOrd="0" destOrd="0" presId="urn:microsoft.com/office/officeart/2018/2/layout/IconCircleList"/>
    <dgm:cxn modelId="{1B8E6630-20D7-497D-8AFB-874980F4BE9E}" type="presOf" srcId="{4F4A099B-3F3B-4D64-B644-8A93D3D2F41B}" destId="{096F9BD3-7F33-45CB-B446-E78EE4310BCE}" srcOrd="0" destOrd="0" presId="urn:microsoft.com/office/officeart/2018/2/layout/IconCircleList"/>
    <dgm:cxn modelId="{33A84AAD-6FED-472A-9C61-41A213D95A8B}" type="presOf" srcId="{2AB3197D-3839-4BA2-A797-8FE2069BC1A3}" destId="{56149493-6F81-4646-A1F4-6363391C9DB6}" srcOrd="0" destOrd="0" presId="urn:microsoft.com/office/officeart/2018/2/layout/IconCircleList"/>
    <dgm:cxn modelId="{A1F60AD2-0411-407E-8716-C46CF8F39D85}" srcId="{4F4A099B-3F3B-4D64-B644-8A93D3D2F41B}" destId="{2AB3197D-3839-4BA2-A797-8FE2069BC1A3}" srcOrd="1" destOrd="0" parTransId="{7F0419C9-5227-4483-9FFF-F50F7AABB817}" sibTransId="{C6BC1EE2-6297-4F68-9F23-E980040404AF}"/>
    <dgm:cxn modelId="{E23829AA-732C-49A5-BDF0-8AAF4AD19BF3}" type="presParOf" srcId="{096F9BD3-7F33-45CB-B446-E78EE4310BCE}" destId="{F54E6E22-3A5E-4463-AFB2-61ED98D201A7}" srcOrd="0" destOrd="0" presId="urn:microsoft.com/office/officeart/2018/2/layout/IconCircleList"/>
    <dgm:cxn modelId="{29C2EBFA-CE3B-47D9-8724-4469D3A979A7}" type="presParOf" srcId="{F54E6E22-3A5E-4463-AFB2-61ED98D201A7}" destId="{E1AB4095-DF5E-4992-98A2-5942995E7073}" srcOrd="0" destOrd="0" presId="urn:microsoft.com/office/officeart/2018/2/layout/IconCircleList"/>
    <dgm:cxn modelId="{581DCC7C-B504-41B6-906E-37BA6D235E47}" type="presParOf" srcId="{E1AB4095-DF5E-4992-98A2-5942995E7073}" destId="{DF4A8D10-EC50-4AB5-AA36-8641C228503D}" srcOrd="0" destOrd="0" presId="urn:microsoft.com/office/officeart/2018/2/layout/IconCircleList"/>
    <dgm:cxn modelId="{9B2F9EC4-2FDC-41CB-80BA-CBA822D3857A}" type="presParOf" srcId="{E1AB4095-DF5E-4992-98A2-5942995E7073}" destId="{79A50BC8-DD6D-455A-84E9-CAC77FC1A1C5}" srcOrd="1" destOrd="0" presId="urn:microsoft.com/office/officeart/2018/2/layout/IconCircleList"/>
    <dgm:cxn modelId="{8A1C06DF-BF25-48F0-B8BE-A1F7E3EEE271}" type="presParOf" srcId="{E1AB4095-DF5E-4992-98A2-5942995E7073}" destId="{4148BBF7-0768-4FEC-99FD-1DB593AB1125}" srcOrd="2" destOrd="0" presId="urn:microsoft.com/office/officeart/2018/2/layout/IconCircleList"/>
    <dgm:cxn modelId="{328FCA57-33BB-40E4-A1E6-6AD05C570B24}" type="presParOf" srcId="{E1AB4095-DF5E-4992-98A2-5942995E7073}" destId="{13F8F3C7-A9EB-4CC0-B17F-94578B3204DE}" srcOrd="3" destOrd="0" presId="urn:microsoft.com/office/officeart/2018/2/layout/IconCircleList"/>
    <dgm:cxn modelId="{8C0EA56E-B65D-428D-B352-232302B158BC}" type="presParOf" srcId="{F54E6E22-3A5E-4463-AFB2-61ED98D201A7}" destId="{223A61D7-27B3-41FD-916E-BE2BE026F678}" srcOrd="1" destOrd="0" presId="urn:microsoft.com/office/officeart/2018/2/layout/IconCircleList"/>
    <dgm:cxn modelId="{FDC583FA-FE4C-4626-9C4C-B0B3353561EB}" type="presParOf" srcId="{F54E6E22-3A5E-4463-AFB2-61ED98D201A7}" destId="{934EFC36-7224-41C5-AD4F-0CAB4BC10557}" srcOrd="2" destOrd="0" presId="urn:microsoft.com/office/officeart/2018/2/layout/IconCircleList"/>
    <dgm:cxn modelId="{70462546-C6A7-4CEE-9420-A26E6920A538}" type="presParOf" srcId="{934EFC36-7224-41C5-AD4F-0CAB4BC10557}" destId="{65AB2DA9-120A-4C91-8EAD-3AA77E040AB4}" srcOrd="0" destOrd="0" presId="urn:microsoft.com/office/officeart/2018/2/layout/IconCircleList"/>
    <dgm:cxn modelId="{73EBB4C2-A3C7-4296-A769-DE3F879A265A}" type="presParOf" srcId="{934EFC36-7224-41C5-AD4F-0CAB4BC10557}" destId="{6C4C39E3-A30E-4C95-A570-879E2759E563}" srcOrd="1" destOrd="0" presId="urn:microsoft.com/office/officeart/2018/2/layout/IconCircleList"/>
    <dgm:cxn modelId="{AE8D5F1A-63C0-43F4-A50D-A851739D0FB1}" type="presParOf" srcId="{934EFC36-7224-41C5-AD4F-0CAB4BC10557}" destId="{F494E221-DD2D-446B-85C0-D033EAFCBFDC}" srcOrd="2" destOrd="0" presId="urn:microsoft.com/office/officeart/2018/2/layout/IconCircleList"/>
    <dgm:cxn modelId="{2B88723A-075B-45AC-95A2-2A36D086E023}" type="presParOf" srcId="{934EFC36-7224-41C5-AD4F-0CAB4BC10557}" destId="{56149493-6F81-4646-A1F4-6363391C9DB6}"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2.xml><?xml version="1.0" encoding="utf-8"?>
<dgm:dataModel xmlns:dgm="http://schemas.openxmlformats.org/drawingml/2006/diagram" xmlns:a="http://schemas.openxmlformats.org/drawingml/2006/main">
  <dgm:ptLst>
    <dgm:pt modelId="{4F4A099B-3F3B-4D64-B644-8A93D3D2F41B}"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95D52A93-C507-49F7-B5AD-A018D3675E6E}" type="parTrans" cxnId="{C74AA0E2-339B-43EF-826C-0CED9DEBA60B}">
      <dgm:prSet custT="1"/>
      <dgm:spPr/>
      <dgm:t>
        <a:bodyPr/>
        <a:lstStyle/>
        <a:p>
          <a:endParaRPr lang="en-US" sz="2400">
            <a:latin typeface="Arial" panose="020B0604020202020204" pitchFamily="34" charset="0"/>
            <a:cs typeface="Arial" panose="020B0604020202020204" pitchFamily="34" charset="0"/>
          </a:endParaRPr>
        </a:p>
      </dgm:t>
    </dgm:pt>
    <dgm:pt modelId="{60AA5E28-2DC2-4B5D-8F41-F6333A758590}">
      <dgm:prSet custT="1"/>
      <dgm:spPr/>
      <dgm:t>
        <a:bodyPr>
          <a:noAutofit/>
        </a:bodyPr>
        <a:lstStyle/>
        <a:p>
          <a:pPr rtl="0">
            <a:lnSpc>
              <a:spcPct val="100000"/>
            </a:lnSpc>
          </a:pPr>
          <a:r>
            <a:rPr lang="zh-Hans" sz="2800" b="0" i="0" u="none" strike="noStrike">
              <a:highlight>
                <a:srgbClr val="000000">
                  <a:alpha val="0"/>
                </a:srgbClr>
              </a:highlight>
              <a:latin typeface="Simsun"/>
              <a:ea typeface="Simsun"/>
              <a:cs typeface="Arial"/>
            </a:rPr>
            <a:t>您将在关闭视频和麦克风的情况下加入会议</a:t>
          </a:r>
        </a:p>
      </dgm:t>
    </dgm:pt>
    <dgm:pt modelId="{740381F6-8F65-45E6-834C-2BFFFDA34B52}" type="sibTrans" cxnId="{C74AA0E2-339B-43EF-826C-0CED9DEBA60B}">
      <dgm:prSet custT="1"/>
      <dgm:spPr/>
      <dgm:t>
        <a:bodyPr/>
        <a:lstStyle/>
        <a:p>
          <a:pPr>
            <a:lnSpc>
              <a:spcPct val="100000"/>
            </a:lnSpc>
          </a:pPr>
          <a:endParaRPr lang="en-US" sz="2400">
            <a:latin typeface="Arial" panose="020B0604020202020204" pitchFamily="34" charset="0"/>
            <a:cs typeface="Arial" panose="020B0604020202020204" pitchFamily="34" charset="0"/>
          </a:endParaRPr>
        </a:p>
      </dgm:t>
    </dgm:pt>
    <dgm:pt modelId="{7F0419C9-5227-4483-9FFF-F50F7AABB817}" type="parTrans" cxnId="{03F191A6-46F0-4921-A4D6-823FF4F3F6E1}">
      <dgm:prSet custT="1"/>
      <dgm:spPr/>
      <dgm:t>
        <a:bodyPr/>
        <a:lstStyle/>
        <a:p>
          <a:endParaRPr lang="en-US" sz="2400">
            <a:latin typeface="Arial" panose="020B0604020202020204" pitchFamily="34" charset="0"/>
            <a:cs typeface="Arial" panose="020B0604020202020204" pitchFamily="34" charset="0"/>
          </a:endParaRPr>
        </a:p>
      </dgm:t>
    </dgm:pt>
    <dgm:pt modelId="{2AB3197D-3839-4BA2-A797-8FE2069BC1A3}">
      <dgm:prSet custT="1"/>
      <dgm:spPr/>
      <dgm:t>
        <a:bodyPr>
          <a:noAutofit/>
        </a:bodyPr>
        <a:lstStyle/>
        <a:p>
          <a:pPr rtl="0">
            <a:lnSpc>
              <a:spcPct val="100000"/>
            </a:lnSpc>
          </a:pPr>
          <a:r>
            <a:rPr lang="zh-Hans" sz="2800" b="0" i="0" u="none" strike="noStrike">
              <a:highlight>
                <a:srgbClr val="000000">
                  <a:alpha val="0"/>
                </a:srgbClr>
              </a:highlight>
              <a:latin typeface="Simsun"/>
              <a:ea typeface="Simsun"/>
              <a:cs typeface="Arial"/>
            </a:rPr>
            <a:t>您可以在 Zoom 问答面板中输入书面问题或评论</a:t>
          </a:r>
        </a:p>
      </dgm:t>
    </dgm:pt>
    <dgm:pt modelId="{C6BC1EE2-6297-4F68-9F23-E980040404AF}" type="sibTrans" cxnId="{03F191A6-46F0-4921-A4D6-823FF4F3F6E1}">
      <dgm:prSet custT="1"/>
      <dgm:spPr/>
      <dgm:t>
        <a:bodyPr/>
        <a:lstStyle/>
        <a:p>
          <a:pPr>
            <a:lnSpc>
              <a:spcPct val="100000"/>
            </a:lnSpc>
          </a:pPr>
          <a:endParaRPr lang="en-US" sz="2400">
            <a:latin typeface="Arial" panose="020B0604020202020204" pitchFamily="34" charset="0"/>
            <a:cs typeface="Arial" panose="020B0604020202020204" pitchFamily="34" charset="0"/>
          </a:endParaRPr>
        </a:p>
      </dgm:t>
    </dgm:pt>
    <dgm:pt modelId="{096F9BD3-7F33-45CB-B446-E78EE4310BCE}" type="pres">
      <dgm:prSet presAssocID="{4F4A099B-3F3B-4D64-B644-8A93D3D2F41B}" presName="root" presStyleCnt="0">
        <dgm:presLayoutVars>
          <dgm:dir/>
          <dgm:resizeHandles val="exact"/>
        </dgm:presLayoutVars>
      </dgm:prSet>
      <dgm:spPr/>
    </dgm:pt>
    <dgm:pt modelId="{F54E6E22-3A5E-4463-AFB2-61ED98D201A7}" type="pres">
      <dgm:prSet presAssocID="{4F4A099B-3F3B-4D64-B644-8A93D3D2F41B}" presName="container" presStyleCnt="0">
        <dgm:presLayoutVars>
          <dgm:dir/>
          <dgm:resizeHandles val="exact"/>
        </dgm:presLayoutVars>
      </dgm:prSet>
      <dgm:spPr/>
    </dgm:pt>
    <dgm:pt modelId="{E1AB4095-DF5E-4992-98A2-5942995E7073}" type="pres">
      <dgm:prSet presAssocID="{60AA5E28-2DC2-4B5D-8F41-F6333A758590}" presName="compNode" presStyleCnt="0"/>
      <dgm:spPr/>
    </dgm:pt>
    <dgm:pt modelId="{DF4A8D10-EC50-4AB5-AA36-8641C228503D}" type="pres">
      <dgm:prSet presAssocID="{60AA5E28-2DC2-4B5D-8F41-F6333A758590}" presName="iconBgRect" presStyleLbl="bgShp" presStyleIdx="0" presStyleCnt="2"/>
      <dgm:spPr/>
    </dgm:pt>
    <dgm:pt modelId="{79A50BC8-DD6D-455A-84E9-CAC77FC1A1C5}" type="pres">
      <dgm:prSet presAssocID="{60AA5E28-2DC2-4B5D-8F41-F6333A758590}" presName="iconRect" presStyleLbl="node1" presStyleIdx="0" presStyleCnt="2" custScaleX="133197" custScaleY="13319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with solid fill"/>
        </a:ext>
      </dgm:extLst>
    </dgm:pt>
    <dgm:pt modelId="{4148BBF7-0768-4FEC-99FD-1DB593AB1125}" type="pres">
      <dgm:prSet presAssocID="{60AA5E28-2DC2-4B5D-8F41-F6333A758590}" presName="spaceRect" presStyleCnt="0"/>
      <dgm:spPr/>
    </dgm:pt>
    <dgm:pt modelId="{13F8F3C7-A9EB-4CC0-B17F-94578B3204DE}" type="pres">
      <dgm:prSet presAssocID="{60AA5E28-2DC2-4B5D-8F41-F6333A758590}" presName="textRect" presStyleLbl="revTx" presStyleIdx="0" presStyleCnt="2">
        <dgm:presLayoutVars>
          <dgm:chMax val="1"/>
          <dgm:chPref val="1"/>
        </dgm:presLayoutVars>
      </dgm:prSet>
      <dgm:spPr/>
    </dgm:pt>
    <dgm:pt modelId="{223A61D7-27B3-41FD-916E-BE2BE026F678}" type="pres">
      <dgm:prSet presAssocID="{740381F6-8F65-45E6-834C-2BFFFDA34B52}" presName="sibTrans" presStyleLbl="sibTrans2D1" presStyleIdx="0" presStyleCnt="0"/>
      <dgm:spPr/>
    </dgm:pt>
    <dgm:pt modelId="{934EFC36-7224-41C5-AD4F-0CAB4BC10557}" type="pres">
      <dgm:prSet presAssocID="{2AB3197D-3839-4BA2-A797-8FE2069BC1A3}" presName="compNode" presStyleCnt="0"/>
      <dgm:spPr/>
    </dgm:pt>
    <dgm:pt modelId="{65AB2DA9-120A-4C91-8EAD-3AA77E040AB4}" type="pres">
      <dgm:prSet presAssocID="{2AB3197D-3839-4BA2-A797-8FE2069BC1A3}" presName="iconBgRect" presStyleLbl="bgShp" presStyleIdx="1" presStyleCnt="2"/>
      <dgm:spPr/>
    </dgm:pt>
    <dgm:pt modelId="{6C4C39E3-A30E-4C95-A570-879E2759E563}" type="pres">
      <dgm:prSet presAssocID="{2AB3197D-3839-4BA2-A797-8FE2069BC1A3}" presName="iconRect" presStyleLbl="node1" presStyleIdx="1" presStyleCnt="2" custScaleX="137446" custScaleY="13744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F494E221-DD2D-446B-85C0-D033EAFCBFDC}" type="pres">
      <dgm:prSet presAssocID="{2AB3197D-3839-4BA2-A797-8FE2069BC1A3}" presName="spaceRect" presStyleCnt="0"/>
      <dgm:spPr/>
    </dgm:pt>
    <dgm:pt modelId="{56149493-6F81-4646-A1F4-6363391C9DB6}" type="pres">
      <dgm:prSet presAssocID="{2AB3197D-3839-4BA2-A797-8FE2069BC1A3}" presName="textRect" presStyleLbl="revTx" presStyleIdx="1" presStyleCnt="2">
        <dgm:presLayoutVars>
          <dgm:chMax val="1"/>
          <dgm:chPref val="1"/>
        </dgm:presLayoutVars>
      </dgm:prSet>
      <dgm:spPr/>
    </dgm:pt>
  </dgm:ptLst>
  <dgm:cxnLst>
    <dgm:cxn modelId="{DD6EC72E-8BDC-4320-8005-2EE02CB01511}" type="presOf" srcId="{4F4A099B-3F3B-4D64-B644-8A93D3D2F41B}" destId="{096F9BD3-7F33-45CB-B446-E78EE4310BCE}" srcOrd="0" destOrd="0" presId="urn:microsoft.com/office/officeart/2018/2/layout/IconCircleList"/>
    <dgm:cxn modelId="{8924565D-FA5B-4D0E-AC1F-2A84D54A8C91}" type="presOf" srcId="{60AA5E28-2DC2-4B5D-8F41-F6333A758590}" destId="{13F8F3C7-A9EB-4CC0-B17F-94578B3204DE}" srcOrd="0" destOrd="0" presId="urn:microsoft.com/office/officeart/2018/2/layout/IconCircleList"/>
    <dgm:cxn modelId="{56554B8B-0E52-4BC0-9DD6-9A1D7B86C870}" type="presOf" srcId="{740381F6-8F65-45E6-834C-2BFFFDA34B52}" destId="{223A61D7-27B3-41FD-916E-BE2BE026F678}" srcOrd="0" destOrd="0" presId="urn:microsoft.com/office/officeart/2018/2/layout/IconCircleList"/>
    <dgm:cxn modelId="{BD175C8C-B376-4F5E-AFDD-5C9945199054}" type="presOf" srcId="{2AB3197D-3839-4BA2-A797-8FE2069BC1A3}" destId="{56149493-6F81-4646-A1F4-6363391C9DB6}" srcOrd="0" destOrd="0" presId="urn:microsoft.com/office/officeart/2018/2/layout/IconCircleList"/>
    <dgm:cxn modelId="{03F191A6-46F0-4921-A4D6-823FF4F3F6E1}" srcId="{4F4A099B-3F3B-4D64-B644-8A93D3D2F41B}" destId="{2AB3197D-3839-4BA2-A797-8FE2069BC1A3}" srcOrd="1" destOrd="0" parTransId="{7F0419C9-5227-4483-9FFF-F50F7AABB817}" sibTransId="{C6BC1EE2-6297-4F68-9F23-E980040404AF}"/>
    <dgm:cxn modelId="{C74AA0E2-339B-43EF-826C-0CED9DEBA60B}" srcId="{4F4A099B-3F3B-4D64-B644-8A93D3D2F41B}" destId="{60AA5E28-2DC2-4B5D-8F41-F6333A758590}" srcOrd="0" destOrd="0" parTransId="{95D52A93-C507-49F7-B5AD-A018D3675E6E}" sibTransId="{740381F6-8F65-45E6-834C-2BFFFDA34B52}"/>
    <dgm:cxn modelId="{2CC06F88-FAEF-40A7-B1DF-5723E767D0FD}" type="presParOf" srcId="{096F9BD3-7F33-45CB-B446-E78EE4310BCE}" destId="{F54E6E22-3A5E-4463-AFB2-61ED98D201A7}" srcOrd="0" destOrd="0" presId="urn:microsoft.com/office/officeart/2018/2/layout/IconCircleList"/>
    <dgm:cxn modelId="{D53221A0-0DCC-47EE-885F-920F1AACDAEF}" type="presParOf" srcId="{F54E6E22-3A5E-4463-AFB2-61ED98D201A7}" destId="{E1AB4095-DF5E-4992-98A2-5942995E7073}" srcOrd="0" destOrd="0" presId="urn:microsoft.com/office/officeart/2018/2/layout/IconCircleList"/>
    <dgm:cxn modelId="{A4629DD3-D535-4F7C-94A4-CF187453015B}" type="presParOf" srcId="{E1AB4095-DF5E-4992-98A2-5942995E7073}" destId="{DF4A8D10-EC50-4AB5-AA36-8641C228503D}" srcOrd="0" destOrd="0" presId="urn:microsoft.com/office/officeart/2018/2/layout/IconCircleList"/>
    <dgm:cxn modelId="{4BC06CEC-3723-464B-8F51-4CE59C258824}" type="presParOf" srcId="{E1AB4095-DF5E-4992-98A2-5942995E7073}" destId="{79A50BC8-DD6D-455A-84E9-CAC77FC1A1C5}" srcOrd="1" destOrd="0" presId="urn:microsoft.com/office/officeart/2018/2/layout/IconCircleList"/>
    <dgm:cxn modelId="{D587306E-68E9-4C96-A98D-205492605161}" type="presParOf" srcId="{E1AB4095-DF5E-4992-98A2-5942995E7073}" destId="{4148BBF7-0768-4FEC-99FD-1DB593AB1125}" srcOrd="2" destOrd="0" presId="urn:microsoft.com/office/officeart/2018/2/layout/IconCircleList"/>
    <dgm:cxn modelId="{256D8B15-89D7-496D-BD94-F0756944D97E}" type="presParOf" srcId="{E1AB4095-DF5E-4992-98A2-5942995E7073}" destId="{13F8F3C7-A9EB-4CC0-B17F-94578B3204DE}" srcOrd="3" destOrd="0" presId="urn:microsoft.com/office/officeart/2018/2/layout/IconCircleList"/>
    <dgm:cxn modelId="{C4436EA6-8249-4520-B3E7-A54DC0B75D2F}" type="presParOf" srcId="{F54E6E22-3A5E-4463-AFB2-61ED98D201A7}" destId="{223A61D7-27B3-41FD-916E-BE2BE026F678}" srcOrd="1" destOrd="0" presId="urn:microsoft.com/office/officeart/2018/2/layout/IconCircleList"/>
    <dgm:cxn modelId="{38FB446C-5CB3-4BBC-8536-2C1946A7C43F}" type="presParOf" srcId="{F54E6E22-3A5E-4463-AFB2-61ED98D201A7}" destId="{934EFC36-7224-41C5-AD4F-0CAB4BC10557}" srcOrd="2" destOrd="0" presId="urn:microsoft.com/office/officeart/2018/2/layout/IconCircleList"/>
    <dgm:cxn modelId="{02E14288-37C3-404A-B18A-A09FF3D7ECEE}" type="presParOf" srcId="{934EFC36-7224-41C5-AD4F-0CAB4BC10557}" destId="{65AB2DA9-120A-4C91-8EAD-3AA77E040AB4}" srcOrd="0" destOrd="0" presId="urn:microsoft.com/office/officeart/2018/2/layout/IconCircleList"/>
    <dgm:cxn modelId="{9FDE25AA-C324-4740-99FA-183AE114E960}" type="presParOf" srcId="{934EFC36-7224-41C5-AD4F-0CAB4BC10557}" destId="{6C4C39E3-A30E-4C95-A570-879E2759E563}" srcOrd="1" destOrd="0" presId="urn:microsoft.com/office/officeart/2018/2/layout/IconCircleList"/>
    <dgm:cxn modelId="{52F8B3E9-3DBA-44B0-B0F1-828709375626}" type="presParOf" srcId="{934EFC36-7224-41C5-AD4F-0CAB4BC10557}" destId="{F494E221-DD2D-446B-85C0-D033EAFCBFDC}" srcOrd="2" destOrd="0" presId="urn:microsoft.com/office/officeart/2018/2/layout/IconCircleList"/>
    <dgm:cxn modelId="{95CB16B8-6487-4116-807D-0F572D8E1329}" type="presParOf" srcId="{934EFC36-7224-41C5-AD4F-0CAB4BC10557}" destId="{56149493-6F81-4646-A1F4-6363391C9DB6}"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4A8D10-EC50-4AB5-AA36-8641C228503D}">
      <dsp:nvSpPr>
        <dsp:cNvPr id="0" name=""/>
        <dsp:cNvSpPr/>
      </dsp:nvSpPr>
      <dsp:spPr>
        <a:xfrm>
          <a:off x="847179" y="923693"/>
          <a:ext cx="1214228" cy="121422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A50BC8-DD6D-455A-84E9-CAC77FC1A1C5}">
      <dsp:nvSpPr>
        <dsp:cNvPr id="0" name=""/>
        <dsp:cNvSpPr/>
      </dsp:nvSpPr>
      <dsp:spPr>
        <a:xfrm>
          <a:off x="985272" y="1061786"/>
          <a:ext cx="938043" cy="9380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3F8F3C7-A9EB-4CC0-B17F-94578B3204DE}">
      <dsp:nvSpPr>
        <dsp:cNvPr id="0" name=""/>
        <dsp:cNvSpPr/>
      </dsp:nvSpPr>
      <dsp:spPr>
        <a:xfrm>
          <a:off x="2321599" y="923693"/>
          <a:ext cx="2862109" cy="12142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244600" rtl="0">
            <a:lnSpc>
              <a:spcPct val="100000"/>
            </a:lnSpc>
            <a:spcBef>
              <a:spcPct val="0"/>
            </a:spcBef>
            <a:spcAft>
              <a:spcPct val="35000"/>
            </a:spcAft>
            <a:buNone/>
          </a:pPr>
          <a:r>
            <a:rPr lang="zh-Hans" sz="2800" b="0" i="0" u="none" strike="noStrike" kern="1200">
              <a:highlight>
                <a:srgbClr val="000000">
                  <a:alpha val="0"/>
                </a:srgbClr>
              </a:highlight>
              <a:latin typeface="Simsun"/>
              <a:ea typeface="Simsun"/>
              <a:cs typeface="Arial"/>
            </a:rPr>
            <a:t>您将在关闭视频和麦克风的情况下加入会议</a:t>
          </a:r>
        </a:p>
      </dsp:txBody>
      <dsp:txXfrm>
        <a:off x="2321599" y="923693"/>
        <a:ext cx="2862109" cy="1214228"/>
      </dsp:txXfrm>
    </dsp:sp>
    <dsp:sp modelId="{65AB2DA9-120A-4C91-8EAD-3AA77E040AB4}">
      <dsp:nvSpPr>
        <dsp:cNvPr id="0" name=""/>
        <dsp:cNvSpPr/>
      </dsp:nvSpPr>
      <dsp:spPr>
        <a:xfrm>
          <a:off x="5682410" y="923693"/>
          <a:ext cx="1214228" cy="121422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4C39E3-A30E-4C95-A570-879E2759E563}">
      <dsp:nvSpPr>
        <dsp:cNvPr id="0" name=""/>
        <dsp:cNvSpPr/>
      </dsp:nvSpPr>
      <dsp:spPr>
        <a:xfrm>
          <a:off x="5805541" y="1046824"/>
          <a:ext cx="967966" cy="96796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149493-6F81-4646-A1F4-6363391C9DB6}">
      <dsp:nvSpPr>
        <dsp:cNvPr id="0" name=""/>
        <dsp:cNvSpPr/>
      </dsp:nvSpPr>
      <dsp:spPr>
        <a:xfrm>
          <a:off x="7156830" y="923693"/>
          <a:ext cx="2862109" cy="12142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244600" rtl="0">
            <a:lnSpc>
              <a:spcPct val="100000"/>
            </a:lnSpc>
            <a:spcBef>
              <a:spcPct val="0"/>
            </a:spcBef>
            <a:spcAft>
              <a:spcPct val="35000"/>
            </a:spcAft>
            <a:buNone/>
          </a:pPr>
          <a:r>
            <a:rPr lang="zh-Hans" sz="2800" b="0" i="0" u="none" strike="noStrike" kern="1200">
              <a:highlight>
                <a:srgbClr val="000000">
                  <a:alpha val="0"/>
                </a:srgbClr>
              </a:highlight>
              <a:latin typeface="Simsun"/>
              <a:ea typeface="Simsun"/>
              <a:cs typeface="Arial"/>
            </a:rPr>
            <a:t>您可以在 Zoom 问答面板中输入书面问题或评论</a:t>
          </a:r>
        </a:p>
      </dsp:txBody>
      <dsp:txXfrm>
        <a:off x="7156830" y="923693"/>
        <a:ext cx="2862109" cy="1214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4A8D10-EC50-4AB5-AA36-8641C228503D}">
      <dsp:nvSpPr>
        <dsp:cNvPr id="0" name=""/>
        <dsp:cNvSpPr/>
      </dsp:nvSpPr>
      <dsp:spPr>
        <a:xfrm>
          <a:off x="847179" y="923693"/>
          <a:ext cx="1214228" cy="121422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A50BC8-DD6D-455A-84E9-CAC77FC1A1C5}">
      <dsp:nvSpPr>
        <dsp:cNvPr id="0" name=""/>
        <dsp:cNvSpPr/>
      </dsp:nvSpPr>
      <dsp:spPr>
        <a:xfrm>
          <a:off x="985272" y="1061786"/>
          <a:ext cx="938043" cy="9380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3F8F3C7-A9EB-4CC0-B17F-94578B3204DE}">
      <dsp:nvSpPr>
        <dsp:cNvPr id="0" name=""/>
        <dsp:cNvSpPr/>
      </dsp:nvSpPr>
      <dsp:spPr>
        <a:xfrm>
          <a:off x="2321599" y="923693"/>
          <a:ext cx="2862109" cy="12142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244600" rtl="0">
            <a:lnSpc>
              <a:spcPct val="100000"/>
            </a:lnSpc>
            <a:spcBef>
              <a:spcPct val="0"/>
            </a:spcBef>
            <a:spcAft>
              <a:spcPct val="35000"/>
            </a:spcAft>
            <a:buNone/>
          </a:pPr>
          <a:r>
            <a:rPr lang="zh-Hans" sz="2800" b="0" i="0" u="none" strike="noStrike" kern="1200">
              <a:highlight>
                <a:srgbClr val="000000">
                  <a:alpha val="0"/>
                </a:srgbClr>
              </a:highlight>
              <a:latin typeface="Simsun"/>
              <a:ea typeface="Simsun"/>
              <a:cs typeface="Arial"/>
            </a:rPr>
            <a:t>您将在关闭视频和麦克风的情况下加入会议</a:t>
          </a:r>
        </a:p>
      </dsp:txBody>
      <dsp:txXfrm>
        <a:off x="2321599" y="923693"/>
        <a:ext cx="2862109" cy="1214228"/>
      </dsp:txXfrm>
    </dsp:sp>
    <dsp:sp modelId="{65AB2DA9-120A-4C91-8EAD-3AA77E040AB4}">
      <dsp:nvSpPr>
        <dsp:cNvPr id="0" name=""/>
        <dsp:cNvSpPr/>
      </dsp:nvSpPr>
      <dsp:spPr>
        <a:xfrm>
          <a:off x="5682410" y="923693"/>
          <a:ext cx="1214228" cy="121422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4C39E3-A30E-4C95-A570-879E2759E563}">
      <dsp:nvSpPr>
        <dsp:cNvPr id="0" name=""/>
        <dsp:cNvSpPr/>
      </dsp:nvSpPr>
      <dsp:spPr>
        <a:xfrm>
          <a:off x="5805541" y="1046824"/>
          <a:ext cx="967966" cy="96796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149493-6F81-4646-A1F4-6363391C9DB6}">
      <dsp:nvSpPr>
        <dsp:cNvPr id="0" name=""/>
        <dsp:cNvSpPr/>
      </dsp:nvSpPr>
      <dsp:spPr>
        <a:xfrm>
          <a:off x="7156830" y="923693"/>
          <a:ext cx="2862109" cy="12142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244600" rtl="0">
            <a:lnSpc>
              <a:spcPct val="100000"/>
            </a:lnSpc>
            <a:spcBef>
              <a:spcPct val="0"/>
            </a:spcBef>
            <a:spcAft>
              <a:spcPct val="35000"/>
            </a:spcAft>
            <a:buNone/>
          </a:pPr>
          <a:r>
            <a:rPr lang="zh-Hans" sz="2800" b="0" i="0" u="none" strike="noStrike" kern="1200">
              <a:highlight>
                <a:srgbClr val="000000">
                  <a:alpha val="0"/>
                </a:srgbClr>
              </a:highlight>
              <a:latin typeface="Simsun"/>
              <a:ea typeface="Simsun"/>
              <a:cs typeface="Arial"/>
            </a:rPr>
            <a:t>您可以在 Zoom 问答面板中输入书面问题或评论</a:t>
          </a:r>
        </a:p>
      </dsp:txBody>
      <dsp:txXfrm>
        <a:off x="7156830" y="923693"/>
        <a:ext cx="2862109" cy="1214228"/>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D9EB7E12-54D4-4C67-9570-168A88C5EAD8}" type="datetimeFigureOut">
              <a:rPr lang="en-US" smtClean="0"/>
              <a:t>7/13/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C03542B3-F54D-4CDE-82D3-11511A72FE2E}" type="slidenum">
              <a:rPr lang="en-US" smtClean="0"/>
              <a:t>‹#›</a:t>
            </a:fld>
            <a:endParaRPr lang="en-US"/>
          </a:p>
        </p:txBody>
      </p:sp>
    </p:spTree>
    <p:extLst>
      <p:ext uri="{BB962C8B-B14F-4D97-AF65-F5344CB8AC3E}">
        <p14:creationId xmlns:p14="http://schemas.microsoft.com/office/powerpoint/2010/main" val="4219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3542B3-F54D-4CDE-82D3-11511A72FE2E}" type="slidenum">
              <a:rPr lang="en-US" smtClean="0"/>
              <a:t>1</a:t>
            </a:fld>
            <a:endParaRPr lang="en-US"/>
          </a:p>
        </p:txBody>
      </p:sp>
    </p:spTree>
    <p:extLst>
      <p:ext uri="{BB962C8B-B14F-4D97-AF65-F5344CB8AC3E}">
        <p14:creationId xmlns:p14="http://schemas.microsoft.com/office/powerpoint/2010/main" val="1394345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C08F71-2F44-487C-B277-B59DFCD7661A}" type="slidenum">
              <a:rPr lang="en-US" smtClean="0"/>
              <a:t>2</a:t>
            </a:fld>
            <a:endParaRPr lang="en-US"/>
          </a:p>
        </p:txBody>
      </p:sp>
    </p:spTree>
    <p:extLst>
      <p:ext uri="{BB962C8B-B14F-4D97-AF65-F5344CB8AC3E}">
        <p14:creationId xmlns:p14="http://schemas.microsoft.com/office/powerpoint/2010/main" val="3066869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F59E565-8FC5-41F0-AACB-E806946EB85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0673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3542B3-F54D-4CDE-82D3-11511A72FE2E}" type="slidenum">
              <a:rPr lang="en-US" smtClean="0"/>
              <a:t>5</a:t>
            </a:fld>
            <a:endParaRPr lang="en-US"/>
          </a:p>
        </p:txBody>
      </p:sp>
    </p:spTree>
    <p:extLst>
      <p:ext uri="{BB962C8B-B14F-4D97-AF65-F5344CB8AC3E}">
        <p14:creationId xmlns:p14="http://schemas.microsoft.com/office/powerpoint/2010/main" val="2362811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3542B3-F54D-4CDE-82D3-11511A72FE2E}" type="slidenum">
              <a:rPr lang="en-US" smtClean="0"/>
              <a:t>6</a:t>
            </a:fld>
            <a:endParaRPr lang="en-US"/>
          </a:p>
        </p:txBody>
      </p:sp>
    </p:spTree>
    <p:extLst>
      <p:ext uri="{BB962C8B-B14F-4D97-AF65-F5344CB8AC3E}">
        <p14:creationId xmlns:p14="http://schemas.microsoft.com/office/powerpoint/2010/main" val="4197165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3542B3-F54D-4CDE-82D3-11511A72FE2E}" type="slidenum">
              <a:rPr lang="en-US" smtClean="0"/>
              <a:t>16</a:t>
            </a:fld>
            <a:endParaRPr lang="en-US"/>
          </a:p>
        </p:txBody>
      </p:sp>
    </p:spTree>
    <p:extLst>
      <p:ext uri="{BB962C8B-B14F-4D97-AF65-F5344CB8AC3E}">
        <p14:creationId xmlns:p14="http://schemas.microsoft.com/office/powerpoint/2010/main" val="107134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11396-DFA7-4CCB-84D9-678E61D563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C8653E2-4405-420F-98C2-321F83DC17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3">
            <a:extLst>
              <a:ext uri="{FF2B5EF4-FFF2-40B4-BE49-F238E27FC236}">
                <a16:creationId xmlns:a16="http://schemas.microsoft.com/office/drawing/2014/main" id="{B1E71F64-74D8-4920-9544-FC74BF1B4CA6}"/>
              </a:ext>
            </a:extLst>
          </p:cNvPr>
          <p:cNvSpPr>
            <a:spLocks noGrp="1"/>
          </p:cNvSpPr>
          <p:nvPr>
            <p:ph type="dt" sz="half" idx="2"/>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8" name="Footer Placeholder 4">
            <a:extLst>
              <a:ext uri="{FF2B5EF4-FFF2-40B4-BE49-F238E27FC236}">
                <a16:creationId xmlns:a16="http://schemas.microsoft.com/office/drawing/2014/main" id="{B6F5D094-A883-4753-8F81-B883AB2B7325}"/>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9" name="Slide Number Placeholder 5">
            <a:extLst>
              <a:ext uri="{FF2B5EF4-FFF2-40B4-BE49-F238E27FC236}">
                <a16:creationId xmlns:a16="http://schemas.microsoft.com/office/drawing/2014/main" id="{C5CA5F2D-27AD-48BC-AAD3-B915799B79D8}"/>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229571978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11D42-7AEE-4901-B3A8-EA1C863AB3F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02E7EF-02E8-470A-93BE-12258C1A6EB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BBAF82-9157-467D-B906-55C320EBC72C}"/>
              </a:ext>
            </a:extLst>
          </p:cNvPr>
          <p:cNvSpPr>
            <a:spLocks noGrp="1"/>
          </p:cNvSpPr>
          <p:nvPr>
            <p:ph type="dt" sz="half" idx="10"/>
          </p:nvPr>
        </p:nvSpPr>
        <p:spPr>
          <a:xfrm>
            <a:off x="838200" y="6574718"/>
            <a:ext cx="2743200" cy="262814"/>
          </a:xfrm>
        </p:spPr>
        <p:txBody>
          <a:bodyPr/>
          <a:lstStyle/>
          <a:p>
            <a:r>
              <a:rPr lang="en-US"/>
              <a:t>August 2018</a:t>
            </a:r>
          </a:p>
        </p:txBody>
      </p:sp>
      <p:sp>
        <p:nvSpPr>
          <p:cNvPr id="5" name="Footer Placeholder 4">
            <a:extLst>
              <a:ext uri="{FF2B5EF4-FFF2-40B4-BE49-F238E27FC236}">
                <a16:creationId xmlns:a16="http://schemas.microsoft.com/office/drawing/2014/main" id="{8305C780-4DDF-428F-9D76-D35A33EEFD61}"/>
              </a:ext>
            </a:extLst>
          </p:cNvPr>
          <p:cNvSpPr>
            <a:spLocks noGrp="1"/>
          </p:cNvSpPr>
          <p:nvPr>
            <p:ph type="ftr" sz="quarter" idx="11"/>
          </p:nvPr>
        </p:nvSpPr>
        <p:spPr>
          <a:xfrm>
            <a:off x="4038600" y="6574717"/>
            <a:ext cx="4114800" cy="262815"/>
          </a:xfrm>
        </p:spPr>
        <p:txBody>
          <a:bodyPr/>
          <a:lstStyle/>
          <a:p>
            <a:r>
              <a:rPr lang="en-US"/>
              <a:t>Cambridge Community Development Department</a:t>
            </a:r>
          </a:p>
        </p:txBody>
      </p:sp>
      <p:sp>
        <p:nvSpPr>
          <p:cNvPr id="6" name="Slide Number Placeholder 5">
            <a:extLst>
              <a:ext uri="{FF2B5EF4-FFF2-40B4-BE49-F238E27FC236}">
                <a16:creationId xmlns:a16="http://schemas.microsoft.com/office/drawing/2014/main" id="{9DBC3997-4EFB-4F8F-B7DF-713A25221A16}"/>
              </a:ext>
            </a:extLst>
          </p:cNvPr>
          <p:cNvSpPr>
            <a:spLocks noGrp="1"/>
          </p:cNvSpPr>
          <p:nvPr>
            <p:ph type="sldNum" sz="quarter" idx="12"/>
          </p:nvPr>
        </p:nvSpPr>
        <p:spPr>
          <a:xfrm>
            <a:off x="8610600" y="6574717"/>
            <a:ext cx="2743200" cy="262815"/>
          </a:xfrm>
        </p:spPr>
        <p:txBody>
          <a:bodyPr/>
          <a:lstStyle/>
          <a:p>
            <a:fld id="{6502A50A-B37B-4069-B760-9762B3BAD012}" type="slidenum">
              <a:rPr lang="en-US" smtClean="0"/>
              <a:t>‹#›</a:t>
            </a:fld>
            <a:endParaRPr lang="en-US"/>
          </a:p>
        </p:txBody>
      </p:sp>
    </p:spTree>
    <p:extLst>
      <p:ext uri="{BB962C8B-B14F-4D97-AF65-F5344CB8AC3E}">
        <p14:creationId xmlns:p14="http://schemas.microsoft.com/office/powerpoint/2010/main" val="254042788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C4C7F2-A9D4-4281-9995-94A18D088E6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BD43AEF-E526-438A-AF5B-A34D54FD750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66BA93-2177-4955-961C-A67FA31CEBDC}"/>
              </a:ext>
            </a:extLst>
          </p:cNvPr>
          <p:cNvSpPr>
            <a:spLocks noGrp="1"/>
          </p:cNvSpPr>
          <p:nvPr>
            <p:ph type="dt" sz="half" idx="10"/>
          </p:nvPr>
        </p:nvSpPr>
        <p:spPr/>
        <p:txBody>
          <a:bodyPr/>
          <a:lstStyle/>
          <a:p>
            <a:r>
              <a:rPr lang="en-US"/>
              <a:t>August 2018</a:t>
            </a:r>
          </a:p>
        </p:txBody>
      </p:sp>
      <p:sp>
        <p:nvSpPr>
          <p:cNvPr id="5" name="Footer Placeholder 4">
            <a:extLst>
              <a:ext uri="{FF2B5EF4-FFF2-40B4-BE49-F238E27FC236}">
                <a16:creationId xmlns:a16="http://schemas.microsoft.com/office/drawing/2014/main" id="{660A085C-2275-4818-80E1-B85C498A3B46}"/>
              </a:ext>
            </a:extLst>
          </p:cNvPr>
          <p:cNvSpPr>
            <a:spLocks noGrp="1"/>
          </p:cNvSpPr>
          <p:nvPr>
            <p:ph type="ftr" sz="quarter" idx="11"/>
          </p:nvPr>
        </p:nvSpPr>
        <p:spPr/>
        <p:txBody>
          <a:bodyPr/>
          <a:lstStyle/>
          <a:p>
            <a:r>
              <a:rPr lang="en-US"/>
              <a:t>Cambridge Community Development Department</a:t>
            </a:r>
          </a:p>
        </p:txBody>
      </p:sp>
      <p:sp>
        <p:nvSpPr>
          <p:cNvPr id="6" name="Slide Number Placeholder 5">
            <a:extLst>
              <a:ext uri="{FF2B5EF4-FFF2-40B4-BE49-F238E27FC236}">
                <a16:creationId xmlns:a16="http://schemas.microsoft.com/office/drawing/2014/main" id="{606F9572-1922-4E4B-8986-330627BD1F85}"/>
              </a:ext>
            </a:extLst>
          </p:cNvPr>
          <p:cNvSpPr>
            <a:spLocks noGrp="1"/>
          </p:cNvSpPr>
          <p:nvPr>
            <p:ph type="sldNum" sz="quarter" idx="12"/>
          </p:nvPr>
        </p:nvSpPr>
        <p:spPr/>
        <p:txBody>
          <a:bodyPr/>
          <a:lstStyle/>
          <a:p>
            <a:fld id="{6502A50A-B37B-4069-B760-9762B3BAD012}" type="slidenum">
              <a:rPr lang="en-US" smtClean="0"/>
              <a:t>‹#›</a:t>
            </a:fld>
            <a:endParaRPr lang="en-US"/>
          </a:p>
        </p:txBody>
      </p:sp>
    </p:spTree>
    <p:extLst>
      <p:ext uri="{BB962C8B-B14F-4D97-AF65-F5344CB8AC3E}">
        <p14:creationId xmlns:p14="http://schemas.microsoft.com/office/powerpoint/2010/main" val="398866100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pecific Subject - Content no_logo">
    <p:bg>
      <p:bgPr>
        <a:solidFill>
          <a:schemeClr val="bg1"/>
        </a:solidFill>
        <a:effectLst/>
      </p:bgPr>
    </p:bg>
    <p:spTree>
      <p:nvGrpSpPr>
        <p:cNvPr id="1" name=""/>
        <p:cNvGrpSpPr/>
        <p:nvPr/>
      </p:nvGrpSpPr>
      <p:grpSpPr>
        <a:xfrm>
          <a:off x="0" y="0"/>
          <a:ext cx="0" cy="0"/>
          <a:chOff x="0" y="0"/>
          <a:chExt cx="0" cy="0"/>
        </a:xfrm>
      </p:grpSpPr>
      <p:sp>
        <p:nvSpPr>
          <p:cNvPr id="14" name="Picture Placeholder 12"/>
          <p:cNvSpPr>
            <a:spLocks noGrp="1"/>
          </p:cNvSpPr>
          <p:nvPr>
            <p:ph type="pic" sz="quarter" idx="13"/>
          </p:nvPr>
        </p:nvSpPr>
        <p:spPr>
          <a:xfrm>
            <a:off x="0" y="6592072"/>
            <a:ext cx="12192000" cy="265928"/>
          </a:xfrm>
          <a:solidFill>
            <a:schemeClr val="bg1"/>
          </a:solidFill>
        </p:spPr>
        <p:txBody>
          <a:bodyPr/>
          <a:lstStyle>
            <a:lvl1pPr marL="0" indent="0">
              <a:buNone/>
              <a:defRPr sz="800">
                <a:solidFill>
                  <a:schemeClr val="bg1"/>
                </a:solidFill>
              </a:defRPr>
            </a:lvl1pPr>
          </a:lstStyle>
          <a:p>
            <a:r>
              <a:rPr lang="en-US"/>
              <a:t>Click icon to add picture</a:t>
            </a:r>
          </a:p>
        </p:txBody>
      </p:sp>
      <p:sp>
        <p:nvSpPr>
          <p:cNvPr id="2" name="Title 1"/>
          <p:cNvSpPr>
            <a:spLocks noGrp="1"/>
          </p:cNvSpPr>
          <p:nvPr>
            <p:ph type="title"/>
          </p:nvPr>
        </p:nvSpPr>
        <p:spPr/>
        <p:txBody>
          <a:bodyPr anchor="t" anchorCtr="0"/>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690688"/>
            <a:ext cx="10515600" cy="4486275"/>
          </a:xfrm>
        </p:spPr>
        <p:txBody>
          <a:bodyPr/>
          <a:lstStyle>
            <a:lvl1pPr>
              <a:buClr>
                <a:srgbClr val="00ADB5"/>
              </a:buClr>
              <a:defRPr/>
            </a:lvl1pPr>
            <a:lvl2pPr>
              <a:buClr>
                <a:srgbClr val="00ADB5"/>
              </a:buClr>
              <a:defRPr/>
            </a:lvl2pPr>
            <a:lvl3pPr>
              <a:buClr>
                <a:srgbClr val="00ADB5"/>
              </a:buClr>
              <a:defRPr/>
            </a:lvl3pPr>
            <a:lvl4pPr>
              <a:buClr>
                <a:srgbClr val="00ADB5"/>
              </a:buClr>
              <a:defRPr/>
            </a:lvl4pPr>
            <a:lvl5pPr>
              <a:buClr>
                <a:srgbClr val="00ADB5"/>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0"/>
          </p:nvPr>
        </p:nvSpPr>
        <p:spPr/>
        <p:txBody>
          <a:bodyPr/>
          <a:lstStyle/>
          <a:p>
            <a:r>
              <a:rPr lang="en-US"/>
              <a:t>Working Group #10, August 18, 2020 – Slide</a:t>
            </a:r>
          </a:p>
        </p:txBody>
      </p:sp>
      <p:sp>
        <p:nvSpPr>
          <p:cNvPr id="11" name="Slide Number Placeholder 10"/>
          <p:cNvSpPr>
            <a:spLocks noGrp="1"/>
          </p:cNvSpPr>
          <p:nvPr>
            <p:ph type="sldNum" sz="quarter" idx="11"/>
          </p:nvPr>
        </p:nvSpPr>
        <p:spPr/>
        <p:txBody>
          <a:bodyPr/>
          <a:lstStyle/>
          <a:p>
            <a:fld id="{482057C4-A5E3-457A-B954-93E2840376F4}" type="slidenum">
              <a:rPr lang="en-US" smtClean="0"/>
              <a:t>‹#›</a:t>
            </a:fld>
            <a:endParaRPr lang="en-US"/>
          </a:p>
        </p:txBody>
      </p:sp>
    </p:spTree>
    <p:extLst>
      <p:ext uri="{BB962C8B-B14F-4D97-AF65-F5344CB8AC3E}">
        <p14:creationId xmlns:p14="http://schemas.microsoft.com/office/powerpoint/2010/main" val="87821554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9B7A4-C9CE-473D-AFD4-05F05FFDA8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5E326C-F78C-4379-91A8-C8312F64E3F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E4A1F1C2-8774-42CD-97A4-25F123C9367E}"/>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9" name="Slide Number Placeholder 5">
            <a:extLst>
              <a:ext uri="{FF2B5EF4-FFF2-40B4-BE49-F238E27FC236}">
                <a16:creationId xmlns:a16="http://schemas.microsoft.com/office/drawing/2014/main" id="{94E816B4-1FA7-4C29-BEE0-2097A4D68B7B}"/>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
        <p:nvSpPr>
          <p:cNvPr id="10" name="Date Placeholder 3">
            <a:extLst>
              <a:ext uri="{FF2B5EF4-FFF2-40B4-BE49-F238E27FC236}">
                <a16:creationId xmlns:a16="http://schemas.microsoft.com/office/drawing/2014/main" id="{A9F79A2E-7A04-4F11-9903-0F0610D03B05}"/>
              </a:ext>
            </a:extLst>
          </p:cNvPr>
          <p:cNvSpPr>
            <a:spLocks noGrp="1"/>
          </p:cNvSpPr>
          <p:nvPr>
            <p:ph type="dt" sz="half" idx="2"/>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Tree>
    <p:extLst>
      <p:ext uri="{BB962C8B-B14F-4D97-AF65-F5344CB8AC3E}">
        <p14:creationId xmlns:p14="http://schemas.microsoft.com/office/powerpoint/2010/main" val="3334785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29C4-DE43-4A44-9301-46AF8429A9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B10F39-4553-4A0A-8C0E-A596F985FF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F8EBC95-FE79-4679-AD0E-5AB0FF4D2D34}"/>
              </a:ext>
            </a:extLst>
          </p:cNvPr>
          <p:cNvSpPr>
            <a:spLocks noGrp="1"/>
          </p:cNvSpPr>
          <p:nvPr>
            <p:ph type="dt" sz="half" idx="10"/>
          </p:nvPr>
        </p:nvSpPr>
        <p:spPr/>
        <p:txBody>
          <a:bodyPr/>
          <a:lstStyle/>
          <a:p>
            <a:r>
              <a:rPr lang="en-US"/>
              <a:t>August 2018</a:t>
            </a:r>
          </a:p>
        </p:txBody>
      </p:sp>
      <p:sp>
        <p:nvSpPr>
          <p:cNvPr id="8" name="Footer Placeholder 4">
            <a:extLst>
              <a:ext uri="{FF2B5EF4-FFF2-40B4-BE49-F238E27FC236}">
                <a16:creationId xmlns:a16="http://schemas.microsoft.com/office/drawing/2014/main" id="{411A8F9A-8EF0-4476-BA7E-E6957E24CD8D}"/>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9" name="Slide Number Placeholder 5">
            <a:extLst>
              <a:ext uri="{FF2B5EF4-FFF2-40B4-BE49-F238E27FC236}">
                <a16:creationId xmlns:a16="http://schemas.microsoft.com/office/drawing/2014/main" id="{33E88BEA-41AE-4BF7-A3C1-F9CDA0EE820A}"/>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340518055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F6714-5F1B-49DA-A649-E81DF36A3A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519F63-EC57-4704-8894-C1E60141DDC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4CAE8A-B8E9-4CE0-B65D-A1403F08E2A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68F72FD7-2C83-482C-B5EB-521F04A0754B}"/>
              </a:ext>
            </a:extLst>
          </p:cNvPr>
          <p:cNvSpPr>
            <a:spLocks noGrp="1"/>
          </p:cNvSpPr>
          <p:nvPr>
            <p:ph type="dt" sz="half" idx="10"/>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9" name="Footer Placeholder 4">
            <a:extLst>
              <a:ext uri="{FF2B5EF4-FFF2-40B4-BE49-F238E27FC236}">
                <a16:creationId xmlns:a16="http://schemas.microsoft.com/office/drawing/2014/main" id="{84E2D41C-EAE0-4DC9-9A3A-91D30C129FD7}"/>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10" name="Slide Number Placeholder 5">
            <a:extLst>
              <a:ext uri="{FF2B5EF4-FFF2-40B4-BE49-F238E27FC236}">
                <a16:creationId xmlns:a16="http://schemas.microsoft.com/office/drawing/2014/main" id="{7D883A73-6F22-408F-957E-4F8E9C78D410}"/>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34446290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56BF8-3F5A-42E0-96F4-D007C3C155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BF24-56C9-44E4-B8BC-01CD159392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ABDF7FB-B694-40D9-8158-397E1D3D935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75073B-C5FD-492D-9B10-A6CF335CF5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02F9BF-2077-4BE7-92CD-EF351FFFECA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a:extLst>
              <a:ext uri="{FF2B5EF4-FFF2-40B4-BE49-F238E27FC236}">
                <a16:creationId xmlns:a16="http://schemas.microsoft.com/office/drawing/2014/main" id="{C7C43D8C-29B0-4108-A9E3-213C5014A3D8}"/>
              </a:ext>
            </a:extLst>
          </p:cNvPr>
          <p:cNvSpPr>
            <a:spLocks noGrp="1"/>
          </p:cNvSpPr>
          <p:nvPr>
            <p:ph type="dt" sz="half" idx="10"/>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11" name="Footer Placeholder 4">
            <a:extLst>
              <a:ext uri="{FF2B5EF4-FFF2-40B4-BE49-F238E27FC236}">
                <a16:creationId xmlns:a16="http://schemas.microsoft.com/office/drawing/2014/main" id="{3E44E85C-BCB7-49E0-A848-21BB3F3623EA}"/>
              </a:ext>
            </a:extLst>
          </p:cNvPr>
          <p:cNvSpPr>
            <a:spLocks noGrp="1"/>
          </p:cNvSpPr>
          <p:nvPr>
            <p:ph type="ftr" sz="quarter" idx="11"/>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12" name="Slide Number Placeholder 5">
            <a:extLst>
              <a:ext uri="{FF2B5EF4-FFF2-40B4-BE49-F238E27FC236}">
                <a16:creationId xmlns:a16="http://schemas.microsoft.com/office/drawing/2014/main" id="{C6247D30-897E-440F-99BB-B733D4F5C725}"/>
              </a:ext>
            </a:extLst>
          </p:cNvPr>
          <p:cNvSpPr>
            <a:spLocks noGrp="1"/>
          </p:cNvSpPr>
          <p:nvPr>
            <p:ph type="sldNum" sz="quarter" idx="12"/>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27002585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AF277-CC1D-4893-BAFA-E30C5378988A}"/>
              </a:ext>
            </a:extLst>
          </p:cNvPr>
          <p:cNvSpPr>
            <a:spLocks noGrp="1"/>
          </p:cNvSpPr>
          <p:nvPr>
            <p:ph type="title"/>
          </p:nvPr>
        </p:nvSpPr>
        <p:spPr/>
        <p:txBody>
          <a:bodyPr/>
          <a:lstStyle/>
          <a:p>
            <a:r>
              <a:rPr lang="en-US"/>
              <a:t>Click to edit Master title style</a:t>
            </a:r>
          </a:p>
        </p:txBody>
      </p:sp>
      <p:sp>
        <p:nvSpPr>
          <p:cNvPr id="6" name="Date Placeholder 3">
            <a:extLst>
              <a:ext uri="{FF2B5EF4-FFF2-40B4-BE49-F238E27FC236}">
                <a16:creationId xmlns:a16="http://schemas.microsoft.com/office/drawing/2014/main" id="{7CDA6A11-6051-43E3-9B9A-342B1862076F}"/>
              </a:ext>
            </a:extLst>
          </p:cNvPr>
          <p:cNvSpPr>
            <a:spLocks noGrp="1"/>
          </p:cNvSpPr>
          <p:nvPr>
            <p:ph type="dt" sz="half" idx="2"/>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7" name="Footer Placeholder 4">
            <a:extLst>
              <a:ext uri="{FF2B5EF4-FFF2-40B4-BE49-F238E27FC236}">
                <a16:creationId xmlns:a16="http://schemas.microsoft.com/office/drawing/2014/main" id="{AA06A01B-BECC-48FE-9C90-5DA81E5FFA3B}"/>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8" name="Slide Number Placeholder 5">
            <a:extLst>
              <a:ext uri="{FF2B5EF4-FFF2-40B4-BE49-F238E27FC236}">
                <a16:creationId xmlns:a16="http://schemas.microsoft.com/office/drawing/2014/main" id="{AC7661D3-5DF5-4C14-875F-770D51D41FA4}"/>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248434400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F7BA6A52-AEFE-4681-8C5C-7FA07FA77C21}"/>
              </a:ext>
            </a:extLst>
          </p:cNvPr>
          <p:cNvSpPr>
            <a:spLocks noGrp="1"/>
          </p:cNvSpPr>
          <p:nvPr>
            <p:ph type="dt" sz="half" idx="2"/>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6" name="Footer Placeholder 4">
            <a:extLst>
              <a:ext uri="{FF2B5EF4-FFF2-40B4-BE49-F238E27FC236}">
                <a16:creationId xmlns:a16="http://schemas.microsoft.com/office/drawing/2014/main" id="{F79DAC1B-1DC0-4B74-9AC2-325EE7B5153D}"/>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7" name="Slide Number Placeholder 5">
            <a:extLst>
              <a:ext uri="{FF2B5EF4-FFF2-40B4-BE49-F238E27FC236}">
                <a16:creationId xmlns:a16="http://schemas.microsoft.com/office/drawing/2014/main" id="{935895B1-7071-452C-BBEB-8125F4DCBEAD}"/>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213728511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2CB2B-2573-477F-B095-C243077278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AD74EBD-584D-44E2-BC50-9CFB04D86B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540EA6-1D58-4564-A13C-D2323740E2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A51AA7D7-4E3C-49DB-A30C-DDF2BEAFDAD8}"/>
              </a:ext>
            </a:extLst>
          </p:cNvPr>
          <p:cNvSpPr>
            <a:spLocks noGrp="1"/>
          </p:cNvSpPr>
          <p:nvPr>
            <p:ph type="dt" sz="half" idx="10"/>
          </p:nvPr>
        </p:nvSpPr>
        <p:spPr>
          <a:xfrm>
            <a:off x="838200" y="6574718"/>
            <a:ext cx="2743200" cy="262814"/>
          </a:xfrm>
        </p:spPr>
        <p:txBody>
          <a:bodyPr/>
          <a:lstStyle/>
          <a:p>
            <a:r>
              <a:rPr lang="en-US"/>
              <a:t>August 2018</a:t>
            </a:r>
          </a:p>
        </p:txBody>
      </p:sp>
      <p:sp>
        <p:nvSpPr>
          <p:cNvPr id="6" name="Footer Placeholder 4">
            <a:extLst>
              <a:ext uri="{FF2B5EF4-FFF2-40B4-BE49-F238E27FC236}">
                <a16:creationId xmlns:a16="http://schemas.microsoft.com/office/drawing/2014/main" id="{4F2E7599-9519-49AC-96F6-129A424BC755}"/>
              </a:ext>
            </a:extLst>
          </p:cNvPr>
          <p:cNvSpPr>
            <a:spLocks noGrp="1"/>
          </p:cNvSpPr>
          <p:nvPr>
            <p:ph type="ftr" sz="quarter" idx="11"/>
          </p:nvPr>
        </p:nvSpPr>
        <p:spPr>
          <a:xfrm>
            <a:off x="4038600" y="6574717"/>
            <a:ext cx="4114800" cy="262815"/>
          </a:xfrm>
        </p:spPr>
        <p:txBody>
          <a:bodyPr/>
          <a:lstStyle/>
          <a:p>
            <a:r>
              <a:rPr lang="en-US"/>
              <a:t>Cambridge Community Development Department</a:t>
            </a:r>
          </a:p>
        </p:txBody>
      </p:sp>
      <p:sp>
        <p:nvSpPr>
          <p:cNvPr id="7" name="Slide Number Placeholder 5">
            <a:extLst>
              <a:ext uri="{FF2B5EF4-FFF2-40B4-BE49-F238E27FC236}">
                <a16:creationId xmlns:a16="http://schemas.microsoft.com/office/drawing/2014/main" id="{65D94946-80F8-4382-A362-2C63B16024EE}"/>
              </a:ext>
            </a:extLst>
          </p:cNvPr>
          <p:cNvSpPr>
            <a:spLocks noGrp="1"/>
          </p:cNvSpPr>
          <p:nvPr>
            <p:ph type="sldNum" sz="quarter" idx="12"/>
          </p:nvPr>
        </p:nvSpPr>
        <p:spPr>
          <a:xfrm>
            <a:off x="8610600" y="6574717"/>
            <a:ext cx="2743200" cy="262815"/>
          </a:xfrm>
        </p:spPr>
        <p:txBody>
          <a:bodyPr/>
          <a:lstStyle/>
          <a:p>
            <a:fld id="{6502A50A-B37B-4069-B760-9762B3BAD012}" type="slidenum">
              <a:rPr lang="en-US" smtClean="0"/>
              <a:t>‹#›</a:t>
            </a:fld>
            <a:endParaRPr lang="en-US"/>
          </a:p>
        </p:txBody>
      </p:sp>
    </p:spTree>
    <p:extLst>
      <p:ext uri="{BB962C8B-B14F-4D97-AF65-F5344CB8AC3E}">
        <p14:creationId xmlns:p14="http://schemas.microsoft.com/office/powerpoint/2010/main" val="290004256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7068-96F0-49CF-AF15-DB9F10D98D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7D8B9A-7495-4C72-8923-0C81216B16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74DF8D-F518-472B-BB55-6AFC87D436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34AE8DE2-AF0E-43A3-8044-AB01229946BE}"/>
              </a:ext>
            </a:extLst>
          </p:cNvPr>
          <p:cNvSpPr>
            <a:spLocks noGrp="1"/>
          </p:cNvSpPr>
          <p:nvPr>
            <p:ph type="dt" sz="half" idx="10"/>
          </p:nvPr>
        </p:nvSpPr>
        <p:spPr>
          <a:xfrm>
            <a:off x="838200" y="6574718"/>
            <a:ext cx="2743200" cy="262814"/>
          </a:xfrm>
        </p:spPr>
        <p:txBody>
          <a:bodyPr/>
          <a:lstStyle/>
          <a:p>
            <a:r>
              <a:rPr lang="en-US"/>
              <a:t>August 2018</a:t>
            </a:r>
          </a:p>
        </p:txBody>
      </p:sp>
      <p:sp>
        <p:nvSpPr>
          <p:cNvPr id="6" name="Footer Placeholder 4">
            <a:extLst>
              <a:ext uri="{FF2B5EF4-FFF2-40B4-BE49-F238E27FC236}">
                <a16:creationId xmlns:a16="http://schemas.microsoft.com/office/drawing/2014/main" id="{B0081D25-3A0E-4D68-8C16-F79D69575FA7}"/>
              </a:ext>
            </a:extLst>
          </p:cNvPr>
          <p:cNvSpPr>
            <a:spLocks noGrp="1"/>
          </p:cNvSpPr>
          <p:nvPr>
            <p:ph type="ftr" sz="quarter" idx="11"/>
          </p:nvPr>
        </p:nvSpPr>
        <p:spPr>
          <a:xfrm>
            <a:off x="4038600" y="6574717"/>
            <a:ext cx="4114800" cy="262815"/>
          </a:xfrm>
        </p:spPr>
        <p:txBody>
          <a:bodyPr/>
          <a:lstStyle/>
          <a:p>
            <a:r>
              <a:rPr lang="en-US"/>
              <a:t>Cambridge Community Development Department</a:t>
            </a:r>
          </a:p>
        </p:txBody>
      </p:sp>
      <p:sp>
        <p:nvSpPr>
          <p:cNvPr id="7" name="Slide Number Placeholder 5">
            <a:extLst>
              <a:ext uri="{FF2B5EF4-FFF2-40B4-BE49-F238E27FC236}">
                <a16:creationId xmlns:a16="http://schemas.microsoft.com/office/drawing/2014/main" id="{B7654A6C-2F0D-4FF6-B62E-2B662961CB18}"/>
              </a:ext>
            </a:extLst>
          </p:cNvPr>
          <p:cNvSpPr>
            <a:spLocks noGrp="1"/>
          </p:cNvSpPr>
          <p:nvPr>
            <p:ph type="sldNum" sz="quarter" idx="12"/>
          </p:nvPr>
        </p:nvSpPr>
        <p:spPr>
          <a:xfrm>
            <a:off x="8610600" y="6574717"/>
            <a:ext cx="2743200" cy="262815"/>
          </a:xfrm>
        </p:spPr>
        <p:txBody>
          <a:bodyPr/>
          <a:lstStyle/>
          <a:p>
            <a:fld id="{6502A50A-B37B-4069-B760-9762B3BAD012}" type="slidenum">
              <a:rPr lang="en-US" smtClean="0"/>
              <a:t>‹#›</a:t>
            </a:fld>
            <a:endParaRPr lang="en-US"/>
          </a:p>
        </p:txBody>
      </p:sp>
    </p:spTree>
    <p:extLst>
      <p:ext uri="{BB962C8B-B14F-4D97-AF65-F5344CB8AC3E}">
        <p14:creationId xmlns:p14="http://schemas.microsoft.com/office/powerpoint/2010/main" val="159447795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746650-A96D-42FA-A0C6-6AECA7083AF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8A1C1B9-7BAB-49D6-98F0-C5355C03E19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EA48AD-B664-4C5B-8182-8863757906C7}"/>
              </a:ext>
            </a:extLst>
          </p:cNvPr>
          <p:cNvSpPr>
            <a:spLocks noGrp="1"/>
          </p:cNvSpPr>
          <p:nvPr>
            <p:ph type="dt" sz="half" idx="2"/>
          </p:nvPr>
        </p:nvSpPr>
        <p:spPr>
          <a:xfrm>
            <a:off x="838200" y="6574718"/>
            <a:ext cx="2743200" cy="262814"/>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August 2018</a:t>
            </a:r>
          </a:p>
        </p:txBody>
      </p:sp>
      <p:sp>
        <p:nvSpPr>
          <p:cNvPr id="5" name="Footer Placeholder 4">
            <a:extLst>
              <a:ext uri="{FF2B5EF4-FFF2-40B4-BE49-F238E27FC236}">
                <a16:creationId xmlns:a16="http://schemas.microsoft.com/office/drawing/2014/main" id="{7E31D46E-8675-4733-9B58-8FB7D620D763}"/>
              </a:ext>
            </a:extLst>
          </p:cNvPr>
          <p:cNvSpPr>
            <a:spLocks noGrp="1"/>
          </p:cNvSpPr>
          <p:nvPr>
            <p:ph type="ftr" sz="quarter" idx="3"/>
          </p:nvPr>
        </p:nvSpPr>
        <p:spPr>
          <a:xfrm>
            <a:off x="4038600" y="6574717"/>
            <a:ext cx="4114800" cy="26281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Cambridge Community Development Department</a:t>
            </a:r>
          </a:p>
        </p:txBody>
      </p:sp>
      <p:sp>
        <p:nvSpPr>
          <p:cNvPr id="6" name="Slide Number Placeholder 5">
            <a:extLst>
              <a:ext uri="{FF2B5EF4-FFF2-40B4-BE49-F238E27FC236}">
                <a16:creationId xmlns:a16="http://schemas.microsoft.com/office/drawing/2014/main" id="{BFD319C5-E358-4E84-AC7C-CEFFACB1A48C}"/>
              </a:ext>
            </a:extLst>
          </p:cNvPr>
          <p:cNvSpPr>
            <a:spLocks noGrp="1"/>
          </p:cNvSpPr>
          <p:nvPr>
            <p:ph type="sldNum" sz="quarter" idx="4"/>
          </p:nvPr>
        </p:nvSpPr>
        <p:spPr>
          <a:xfrm>
            <a:off x="8610600" y="6574717"/>
            <a:ext cx="2743200" cy="262815"/>
          </a:xfrm>
          <a:prstGeom prst="rect">
            <a:avLst/>
          </a:prstGeom>
        </p:spPr>
        <p:txBody>
          <a:bodyPr vert="horz" lIns="91440" tIns="45720" rIns="91440" bIns="45720" rtlCol="0" anchor="ctr"/>
          <a:lstStyle>
            <a:lvl1pPr algn="r">
              <a:defRPr sz="1100">
                <a:solidFill>
                  <a:schemeClr val="tx1">
                    <a:tint val="75000"/>
                  </a:schemeClr>
                </a:solidFill>
              </a:defRPr>
            </a:lvl1pPr>
          </a:lstStyle>
          <a:p>
            <a:fld id="{6502A50A-B37B-4069-B760-9762B3BAD012}" type="slidenum">
              <a:rPr lang="en-US" smtClean="0"/>
              <a:t>‹#›</a:t>
            </a:fld>
            <a:endParaRPr lang="en-US"/>
          </a:p>
        </p:txBody>
      </p:sp>
    </p:spTree>
    <p:extLst>
      <p:ext uri="{BB962C8B-B14F-4D97-AF65-F5344CB8AC3E}">
        <p14:creationId xmlns:p14="http://schemas.microsoft.com/office/powerpoint/2010/main" val="371095635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notesSlide" Target="../notesSlides/notesSlide2.xml"/><Relationship Id="rId16" Type="http://schemas.openxmlformats.org/officeDocument/2006/relationships/image" Target="../media/image17.svg"/><Relationship Id="rId1" Type="http://schemas.openxmlformats.org/officeDocument/2006/relationships/slideLayout" Target="../slideLayouts/slideLayout2.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 Id="rId14" Type="http://schemas.openxmlformats.org/officeDocument/2006/relationships/image" Target="../media/image15.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s://bit.ly/FFFupdates"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22.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7.xml.rels><?xml version="1.0" encoding="UTF-8" standalone="yes"?>
<Relationships xmlns="http://schemas.openxmlformats.org/package/2006/relationships"><Relationship Id="rId2" Type="http://schemas.openxmlformats.org/officeDocument/2006/relationships/hyperlink" Target="https://bit.ly/FFFupdates"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7CC345D-F1D6-4C2C-A33C-0C48F59A7642}"/>
              </a:ext>
            </a:extLst>
          </p:cNvPr>
          <p:cNvSpPr txBox="1"/>
          <p:nvPr/>
        </p:nvSpPr>
        <p:spPr>
          <a:xfrm>
            <a:off x="557152" y="1167942"/>
            <a:ext cx="5719010" cy="830997"/>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2400" b="1" i="0" u="none" strike="noStrike" kern="1200" cap="none" spc="0" normalizeH="0" baseline="0" noProof="0">
                <a:solidFill>
                  <a:srgbClr val="1269A2"/>
                </a:solidFill>
                <a:highlight>
                  <a:srgbClr val="000000">
                    <a:alpha val="0"/>
                  </a:srgbClr>
                </a:highlight>
                <a:uLnTx/>
                <a:uFillTx/>
                <a:latin typeface="Simsun"/>
                <a:ea typeface="Simsun"/>
                <a:cs typeface="+mn-cs"/>
              </a:rPr>
              <a:t>Cambridge 市社区发展部</a:t>
            </a:r>
          </a:p>
        </p:txBody>
      </p:sp>
      <p:sp>
        <p:nvSpPr>
          <p:cNvPr id="15" name="Title 14">
            <a:extLst>
              <a:ext uri="{FF2B5EF4-FFF2-40B4-BE49-F238E27FC236}">
                <a16:creationId xmlns:a16="http://schemas.microsoft.com/office/drawing/2014/main" id="{C326D269-7F41-4E44-8A13-AE1B695E8677}"/>
              </a:ext>
            </a:extLst>
          </p:cNvPr>
          <p:cNvSpPr txBox="1">
            <a:spLocks noGrp="1"/>
          </p:cNvSpPr>
          <p:nvPr>
            <p:ph type="title" idx="4294967295"/>
          </p:nvPr>
        </p:nvSpPr>
        <p:spPr>
          <a:xfrm>
            <a:off x="557152" y="2671024"/>
            <a:ext cx="6226626" cy="1754326"/>
          </a:xfrm>
          <a:prstGeom prst="rect">
            <a:avLst/>
          </a:prstGeom>
          <a:no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3600" b="1" i="0" u="none" strike="noStrike" kern="1200" cap="none" spc="0" normalizeH="0" baseline="0" noProof="0">
                <a:solidFill>
                  <a:srgbClr val="1269A2"/>
                </a:solidFill>
                <a:highlight>
                  <a:srgbClr val="000000">
                    <a:alpha val="0"/>
                  </a:srgbClr>
                </a:highlight>
                <a:uLnTx/>
                <a:uFillTx/>
                <a:latin typeface="Simsun"/>
                <a:ea typeface="Simsun"/>
                <a:cs typeface="+mn-cs"/>
              </a:rPr>
              <a:t>无化石燃料建筑示范计划 - 概述</a:t>
            </a:r>
          </a:p>
        </p:txBody>
      </p:sp>
      <p:sp>
        <p:nvSpPr>
          <p:cNvPr id="2" name="TextBox 1">
            <a:extLst>
              <a:ext uri="{FF2B5EF4-FFF2-40B4-BE49-F238E27FC236}">
                <a16:creationId xmlns:a16="http://schemas.microsoft.com/office/drawing/2014/main" id="{75B90E77-7E96-13CD-A0C5-93F1CBBC75ED}"/>
              </a:ext>
            </a:extLst>
          </p:cNvPr>
          <p:cNvSpPr txBox="1"/>
          <p:nvPr/>
        </p:nvSpPr>
        <p:spPr>
          <a:xfrm>
            <a:off x="557152" y="4436028"/>
            <a:ext cx="5719010"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2400" b="0" i="0" u="none" strike="noStrike" kern="1200" cap="none" spc="0" normalizeH="0" baseline="0" noProof="0">
                <a:solidFill>
                  <a:srgbClr val="1269A2"/>
                </a:solidFill>
                <a:highlight>
                  <a:srgbClr val="000000">
                    <a:alpha val="0"/>
                  </a:srgbClr>
                </a:highlight>
                <a:uLnTx/>
                <a:uFillTx/>
                <a:latin typeface="Simsun"/>
                <a:ea typeface="Simsun"/>
                <a:cs typeface="+mn-cs"/>
              </a:rPr>
              <a:t>2023 年 7 月</a:t>
            </a:r>
          </a:p>
        </p:txBody>
      </p:sp>
      <p:pic>
        <p:nvPicPr>
          <p:cNvPr id="21" name="Picture 20" descr="Aerial view of Cambridge">
            <a:extLst>
              <a:ext uri="{FF2B5EF4-FFF2-40B4-BE49-F238E27FC236}">
                <a16:creationId xmlns:a16="http://schemas.microsoft.com/office/drawing/2014/main" id="{210CE73C-95C7-4522-A7BB-41FC50781EFE}"/>
              </a:ext>
            </a:extLst>
          </p:cNvPr>
          <p:cNvPicPr>
            <a:picLocks noChangeAspect="1"/>
          </p:cNvPicPr>
          <p:nvPr/>
        </p:nvPicPr>
        <p:blipFill>
          <a:blip r:embed="rId3">
            <a:extLst>
              <a:ext uri="{28A0092B-C50C-407E-A947-70E740481C1C}">
                <a14:useLocalDpi xmlns:a14="http://schemas.microsoft.com/office/drawing/2010/main" val="0"/>
              </a:ext>
            </a:extLst>
          </a:blip>
          <a:srcRect l="49778"/>
          <a:stretch>
            <a:fillRect/>
          </a:stretch>
        </p:blipFill>
        <p:spPr>
          <a:xfrm>
            <a:off x="7259977" y="296562"/>
            <a:ext cx="4595625" cy="6095505"/>
          </a:xfrm>
          <a:prstGeom prst="rect">
            <a:avLst/>
          </a:prstGeom>
        </p:spPr>
      </p:pic>
      <p:sp>
        <p:nvSpPr>
          <p:cNvPr id="12" name="Footer Placeholder 2">
            <a:extLst>
              <a:ext uri="{FF2B5EF4-FFF2-40B4-BE49-F238E27FC236}">
                <a16:creationId xmlns:a16="http://schemas.microsoft.com/office/drawing/2014/main" id="{89AD31A0-C17E-4210-9A60-6FA60B458BF4}"/>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13" name="Slide Number Placeholder 3">
            <a:extLst>
              <a:ext uri="{FF2B5EF4-FFF2-40B4-BE49-F238E27FC236}">
                <a16:creationId xmlns:a16="http://schemas.microsoft.com/office/drawing/2014/main" id="{657495C8-2988-4E6E-B88D-A8BC79E12FE3}"/>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pic>
        <p:nvPicPr>
          <p:cNvPr id="4" name="Picture 3" descr="CDD logo">
            <a:extLst>
              <a:ext uri="{FF2B5EF4-FFF2-40B4-BE49-F238E27FC236}">
                <a16:creationId xmlns:a16="http://schemas.microsoft.com/office/drawing/2014/main" id="{6D811143-9518-4082-8E3D-458C3A9202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67285" y="5559056"/>
            <a:ext cx="723630" cy="723630"/>
          </a:xfrm>
          <a:prstGeom prst="rect">
            <a:avLst/>
          </a:prstGeom>
        </p:spPr>
      </p:pic>
      <p:sp>
        <p:nvSpPr>
          <p:cNvPr id="22" name="Freeform: Shape 21">
            <a:extLst>
              <a:ext uri="{FF2B5EF4-FFF2-40B4-BE49-F238E27FC236}">
                <a16:creationId xmlns:a16="http://schemas.microsoft.com/office/drawing/2014/main" id="{D9793570-47BE-49A6-A6D0-DC7D984EFEBE}"/>
              </a:ext>
              <a:ext uri="{C183D7F6-B498-43B3-948B-1728B52AA6E4}">
                <adec:decorative xmlns:adec="http://schemas.microsoft.com/office/drawing/2017/decorative" val="1"/>
              </a:ext>
            </a:extLst>
          </p:cNvPr>
          <p:cNvSpPr/>
          <p:nvPr/>
        </p:nvSpPr>
        <p:spPr>
          <a:xfrm>
            <a:off x="6236917" y="68944"/>
            <a:ext cx="5924603" cy="6585938"/>
          </a:xfrm>
          <a:custGeom>
            <a:avLst/>
            <a:gdLst>
              <a:gd name="connsiteX0" fmla="*/ 37830 w 5924603"/>
              <a:gd name="connsiteY0" fmla="*/ 1331839 h 6585938"/>
              <a:gd name="connsiteX1" fmla="*/ 5772203 w 5924603"/>
              <a:gd name="connsiteY1" fmla="*/ 1331839 h 6585938"/>
              <a:gd name="connsiteX2" fmla="*/ 5772203 w 5924603"/>
              <a:gd name="connsiteY2" fmla="*/ 1500371 h 6585938"/>
              <a:gd name="connsiteX3" fmla="*/ 1113294 w 5924603"/>
              <a:gd name="connsiteY3" fmla="*/ 1500371 h 6585938"/>
              <a:gd name="connsiteX4" fmla="*/ 1113294 w 5924603"/>
              <a:gd name="connsiteY4" fmla="*/ 2671644 h 6585938"/>
              <a:gd name="connsiteX5" fmla="*/ 5924603 w 5924603"/>
              <a:gd name="connsiteY5" fmla="*/ 2671644 h 6585938"/>
              <a:gd name="connsiteX6" fmla="*/ 5924603 w 5924603"/>
              <a:gd name="connsiteY6" fmla="*/ 2840177 h 6585938"/>
              <a:gd name="connsiteX7" fmla="*/ 1627158 w 5924603"/>
              <a:gd name="connsiteY7" fmla="*/ 2840177 h 6585938"/>
              <a:gd name="connsiteX8" fmla="*/ 1627158 w 5924603"/>
              <a:gd name="connsiteY8" fmla="*/ 3918462 h 6585938"/>
              <a:gd name="connsiteX9" fmla="*/ 5891023 w 5924603"/>
              <a:gd name="connsiteY9" fmla="*/ 3918462 h 6585938"/>
              <a:gd name="connsiteX10" fmla="*/ 5891023 w 5924603"/>
              <a:gd name="connsiteY10" fmla="*/ 4086995 h 6585938"/>
              <a:gd name="connsiteX11" fmla="*/ 2019972 w 5924603"/>
              <a:gd name="connsiteY11" fmla="*/ 4086995 h 6585938"/>
              <a:gd name="connsiteX12" fmla="*/ 2019972 w 5924603"/>
              <a:gd name="connsiteY12" fmla="*/ 5194502 h 6585938"/>
              <a:gd name="connsiteX13" fmla="*/ 5891022 w 5924603"/>
              <a:gd name="connsiteY13" fmla="*/ 5194502 h 6585938"/>
              <a:gd name="connsiteX14" fmla="*/ 5891022 w 5924603"/>
              <a:gd name="connsiteY14" fmla="*/ 5363035 h 6585938"/>
              <a:gd name="connsiteX15" fmla="*/ 2487126 w 5924603"/>
              <a:gd name="connsiteY15" fmla="*/ 5363035 h 6585938"/>
              <a:gd name="connsiteX16" fmla="*/ 2487126 w 5924603"/>
              <a:gd name="connsiteY16" fmla="*/ 6585938 h 6585938"/>
              <a:gd name="connsiteX17" fmla="*/ 0 w 5924603"/>
              <a:gd name="connsiteY17" fmla="*/ 6585938 h 6585938"/>
              <a:gd name="connsiteX18" fmla="*/ 0 w 5924603"/>
              <a:gd name="connsiteY18" fmla="*/ 5328384 h 6585938"/>
              <a:gd name="connsiteX19" fmla="*/ 156649 w 5924603"/>
              <a:gd name="connsiteY19" fmla="*/ 5328384 h 6585938"/>
              <a:gd name="connsiteX20" fmla="*/ 156649 w 5924603"/>
              <a:gd name="connsiteY20" fmla="*/ 5260282 h 6585938"/>
              <a:gd name="connsiteX21" fmla="*/ 123072 w 5924603"/>
              <a:gd name="connsiteY21" fmla="*/ 5260282 h 6585938"/>
              <a:gd name="connsiteX22" fmla="*/ 123072 w 5924603"/>
              <a:gd name="connsiteY22" fmla="*/ 4002728 h 6585938"/>
              <a:gd name="connsiteX23" fmla="*/ 156650 w 5924603"/>
              <a:gd name="connsiteY23" fmla="*/ 4002728 h 6585938"/>
              <a:gd name="connsiteX24" fmla="*/ 156650 w 5924603"/>
              <a:gd name="connsiteY24" fmla="*/ 3918462 h 6585938"/>
              <a:gd name="connsiteX25" fmla="*/ 237641 w 5924603"/>
              <a:gd name="connsiteY25" fmla="*/ 3918462 h 6585938"/>
              <a:gd name="connsiteX26" fmla="*/ 237641 w 5924603"/>
              <a:gd name="connsiteY26" fmla="*/ 2840177 h 6585938"/>
              <a:gd name="connsiteX27" fmla="*/ 190230 w 5924603"/>
              <a:gd name="connsiteY27" fmla="*/ 2840177 h 6585938"/>
              <a:gd name="connsiteX28" fmla="*/ 190230 w 5924603"/>
              <a:gd name="connsiteY28" fmla="*/ 2698988 h 6585938"/>
              <a:gd name="connsiteX29" fmla="*/ 67159 w 5924603"/>
              <a:gd name="connsiteY29" fmla="*/ 2698988 h 6585938"/>
              <a:gd name="connsiteX30" fmla="*/ 67159 w 5924603"/>
              <a:gd name="connsiteY30" fmla="*/ 1500371 h 6585938"/>
              <a:gd name="connsiteX31" fmla="*/ 37830 w 5924603"/>
              <a:gd name="connsiteY31" fmla="*/ 1500371 h 6585938"/>
              <a:gd name="connsiteX32" fmla="*/ 37829 w 5924603"/>
              <a:gd name="connsiteY32" fmla="*/ 0 h 6585938"/>
              <a:gd name="connsiteX33" fmla="*/ 5772202 w 5924603"/>
              <a:gd name="connsiteY33" fmla="*/ 0 h 6585938"/>
              <a:gd name="connsiteX34" fmla="*/ 5772202 w 5924603"/>
              <a:gd name="connsiteY34" fmla="*/ 224331 h 6585938"/>
              <a:gd name="connsiteX35" fmla="*/ 37829 w 5924603"/>
              <a:gd name="connsiteY35" fmla="*/ 224331 h 65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924603" h="6585938">
                <a:moveTo>
                  <a:pt x="37830" y="1331839"/>
                </a:moveTo>
                <a:lnTo>
                  <a:pt x="5772203" y="1331839"/>
                </a:lnTo>
                <a:lnTo>
                  <a:pt x="5772203" y="1500371"/>
                </a:lnTo>
                <a:lnTo>
                  <a:pt x="1113294" y="1500371"/>
                </a:lnTo>
                <a:lnTo>
                  <a:pt x="1113294" y="2671644"/>
                </a:lnTo>
                <a:lnTo>
                  <a:pt x="5924603" y="2671644"/>
                </a:lnTo>
                <a:lnTo>
                  <a:pt x="5924603" y="2840177"/>
                </a:lnTo>
                <a:lnTo>
                  <a:pt x="1627158" y="2840177"/>
                </a:lnTo>
                <a:lnTo>
                  <a:pt x="1627158" y="3918462"/>
                </a:lnTo>
                <a:lnTo>
                  <a:pt x="5891023" y="3918462"/>
                </a:lnTo>
                <a:lnTo>
                  <a:pt x="5891023" y="4086995"/>
                </a:lnTo>
                <a:lnTo>
                  <a:pt x="2019972" y="4086995"/>
                </a:lnTo>
                <a:lnTo>
                  <a:pt x="2019972" y="5194502"/>
                </a:lnTo>
                <a:lnTo>
                  <a:pt x="5891022" y="5194502"/>
                </a:lnTo>
                <a:lnTo>
                  <a:pt x="5891022" y="5363035"/>
                </a:lnTo>
                <a:lnTo>
                  <a:pt x="2487126" y="5363035"/>
                </a:lnTo>
                <a:lnTo>
                  <a:pt x="2487126" y="6585938"/>
                </a:lnTo>
                <a:lnTo>
                  <a:pt x="0" y="6585938"/>
                </a:lnTo>
                <a:lnTo>
                  <a:pt x="0" y="5328384"/>
                </a:lnTo>
                <a:lnTo>
                  <a:pt x="156649" y="5328384"/>
                </a:lnTo>
                <a:lnTo>
                  <a:pt x="156649" y="5260282"/>
                </a:lnTo>
                <a:lnTo>
                  <a:pt x="123072" y="5260282"/>
                </a:lnTo>
                <a:lnTo>
                  <a:pt x="123072" y="4002728"/>
                </a:lnTo>
                <a:lnTo>
                  <a:pt x="156650" y="4002728"/>
                </a:lnTo>
                <a:lnTo>
                  <a:pt x="156650" y="3918462"/>
                </a:lnTo>
                <a:lnTo>
                  <a:pt x="237641" y="3918462"/>
                </a:lnTo>
                <a:lnTo>
                  <a:pt x="237641" y="2840177"/>
                </a:lnTo>
                <a:lnTo>
                  <a:pt x="190230" y="2840177"/>
                </a:lnTo>
                <a:lnTo>
                  <a:pt x="190230" y="2698988"/>
                </a:lnTo>
                <a:lnTo>
                  <a:pt x="67159" y="2698988"/>
                </a:lnTo>
                <a:lnTo>
                  <a:pt x="67159" y="1500371"/>
                </a:lnTo>
                <a:lnTo>
                  <a:pt x="37830" y="1500371"/>
                </a:lnTo>
                <a:close/>
                <a:moveTo>
                  <a:pt x="37829" y="0"/>
                </a:moveTo>
                <a:lnTo>
                  <a:pt x="5772202" y="0"/>
                </a:lnTo>
                <a:lnTo>
                  <a:pt x="5772202" y="224331"/>
                </a:lnTo>
                <a:lnTo>
                  <a:pt x="37829" y="22433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6" name="Picture 5" descr="City seal">
            <a:extLst>
              <a:ext uri="{FF2B5EF4-FFF2-40B4-BE49-F238E27FC236}">
                <a16:creationId xmlns:a16="http://schemas.microsoft.com/office/drawing/2014/main" id="{26674E0B-912D-4C98-8001-D49400E18B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720" y="5516552"/>
            <a:ext cx="812134" cy="812134"/>
          </a:xfrm>
          <a:prstGeom prst="rect">
            <a:avLst/>
          </a:prstGeom>
        </p:spPr>
      </p:pic>
      <p:sp>
        <p:nvSpPr>
          <p:cNvPr id="3" name="Rectangle 2">
            <a:extLst>
              <a:ext uri="{FF2B5EF4-FFF2-40B4-BE49-F238E27FC236}">
                <a16:creationId xmlns:a16="http://schemas.microsoft.com/office/drawing/2014/main" id="{01F86F2B-DD5A-C2FE-BD8E-43810D315F14}"/>
              </a:ext>
              <a:ext uri="{C183D7F6-B498-43B3-948B-1728B52AA6E4}">
                <adec:decorative xmlns:adec="http://schemas.microsoft.com/office/drawing/2017/decorative" val="1"/>
              </a:ext>
            </a:extLst>
          </p:cNvPr>
          <p:cNvSpPr/>
          <p:nvPr/>
        </p:nvSpPr>
        <p:spPr>
          <a:xfrm>
            <a:off x="11948984" y="296562"/>
            <a:ext cx="189823" cy="5262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2348283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2800" b="1" i="0" u="none" strike="noStrike">
                <a:solidFill>
                  <a:srgbClr val="1269A2"/>
                </a:solidFill>
                <a:highlight>
                  <a:srgbClr val="000000">
                    <a:alpha val="0"/>
                  </a:srgbClr>
                </a:highlight>
                <a:latin typeface="Simsun"/>
                <a:ea typeface="Simsun"/>
              </a:rPr>
              <a:t>净零行动计划采取行动解决现有和新建建筑的排放问题</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50" name="Picture 49" descr="Net Zero Action Plan">
            <a:extLst>
              <a:ext uri="{FF2B5EF4-FFF2-40B4-BE49-F238E27FC236}">
                <a16:creationId xmlns:a16="http://schemas.microsoft.com/office/drawing/2014/main" id="{A1F8D0D6-16E7-918C-6278-B9522CE6D9E9}"/>
              </a:ext>
            </a:extLst>
          </p:cNvPr>
          <p:cNvPicPr>
            <a:picLocks noChangeAspect="1"/>
          </p:cNvPicPr>
          <p:nvPr/>
        </p:nvPicPr>
        <p:blipFill>
          <a:blip r:embed="rId2"/>
          <a:stretch>
            <a:fillRect/>
          </a:stretch>
        </p:blipFill>
        <p:spPr>
          <a:xfrm>
            <a:off x="1749433" y="1679386"/>
            <a:ext cx="8693133" cy="4895331"/>
          </a:xfrm>
          <a:prstGeom prst="rect">
            <a:avLst/>
          </a:prstGeom>
        </p:spPr>
      </p:pic>
      <p:sp>
        <p:nvSpPr>
          <p:cNvPr id="3" name="Rectangle 2" descr="Highlight around Action 2.1">
            <a:extLst>
              <a:ext uri="{FF2B5EF4-FFF2-40B4-BE49-F238E27FC236}">
                <a16:creationId xmlns:a16="http://schemas.microsoft.com/office/drawing/2014/main" id="{226BD9C4-BF15-34A4-D236-D02E4550FE5C}"/>
              </a:ext>
            </a:extLst>
          </p:cNvPr>
          <p:cNvSpPr/>
          <p:nvPr/>
        </p:nvSpPr>
        <p:spPr>
          <a:xfrm>
            <a:off x="5492380" y="2728468"/>
            <a:ext cx="1097280" cy="1049082"/>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B30C229C-2B06-2587-56A4-5343598C7417}"/>
              </a:ext>
            </a:extLst>
          </p:cNvPr>
          <p:cNvSpPr txBox="1"/>
          <p:nvPr/>
        </p:nvSpPr>
        <p:spPr>
          <a:xfrm>
            <a:off x="6699621" y="2688134"/>
            <a:ext cx="5368391" cy="3662541"/>
          </a:xfrm>
          <a:prstGeom prst="rect">
            <a:avLst/>
          </a:prstGeom>
          <a:solidFill>
            <a:schemeClr val="bg1"/>
          </a:solidFill>
          <a:ln w="76200">
            <a:solidFill>
              <a:schemeClr val="accent6"/>
            </a:solidFill>
          </a:ln>
        </p:spPr>
        <p:txBody>
          <a:bodyPr wrap="square" rtlCol="0">
            <a:noAutofit/>
          </a:bodyPr>
          <a:lstStyle/>
          <a:p>
            <a:pPr rtl="0"/>
            <a:r>
              <a:rPr lang="zh-Hans" sz="2400" b="1" i="0" u="none" strike="noStrike">
                <a:highlight>
                  <a:srgbClr val="000000">
                    <a:alpha val="0"/>
                  </a:srgbClr>
                </a:highlight>
                <a:latin typeface="Simsun"/>
                <a:ea typeface="Simsun"/>
              </a:rPr>
              <a:t>行动 2.1</a:t>
            </a:r>
            <a:r>
              <a:rPr lang="zh-Hans" sz="2400" b="0" i="0" u="none" strike="noStrike">
                <a:highlight>
                  <a:srgbClr val="000000">
                    <a:alpha val="0"/>
                  </a:srgbClr>
                </a:highlight>
                <a:latin typeface="Simsun"/>
                <a:ea typeface="Simsun"/>
              </a:rPr>
              <a:t>要求新建筑从一开始就实现净零排放，包括：</a:t>
            </a:r>
            <a:br>
              <a:rPr lang="zh-Hans" sz="2400" b="0" i="0" u="none" strike="noStrike">
                <a:highlight>
                  <a:srgbClr val="000000">
                    <a:alpha val="0"/>
                  </a:srgbClr>
                </a:highlight>
                <a:latin typeface="Simsun"/>
                <a:ea typeface="Simsun"/>
              </a:rPr>
            </a:br>
            <a:endParaRPr lang="en-US" sz="2400"/>
          </a:p>
          <a:p>
            <a:pPr marL="285750" indent="-285750" rtl="0">
              <a:buFont typeface="Arial" panose="020B0604020202020204" pitchFamily="34" charset="0"/>
              <a:buChar char="•"/>
            </a:pPr>
            <a:r>
              <a:rPr lang="zh-Hans" sz="2000" b="0" i="0" u="none" strike="noStrike">
                <a:highlight>
                  <a:srgbClr val="000000">
                    <a:alpha val="0"/>
                  </a:srgbClr>
                </a:highlight>
                <a:latin typeface="Simsun"/>
                <a:ea typeface="Simsun"/>
              </a:rPr>
              <a:t>Cambridge 应该倡导州净零代码，因为 Massachusetts 州制定了建筑规范</a:t>
            </a:r>
          </a:p>
          <a:p>
            <a:pPr marL="285750" indent="-285750" rtl="0">
              <a:buFont typeface="Arial" panose="020B0604020202020204" pitchFamily="34" charset="0"/>
              <a:buChar char="•"/>
            </a:pPr>
            <a:r>
              <a:rPr lang="zh-Hans" sz="2000" b="0" i="0" u="none" strike="noStrike">
                <a:highlight>
                  <a:srgbClr val="000000">
                    <a:alpha val="0"/>
                  </a:srgbClr>
                </a:highlight>
                <a:latin typeface="Simsun"/>
                <a:ea typeface="Simsun"/>
              </a:rPr>
              <a:t>一旦国家允许，就采用该规范</a:t>
            </a:r>
          </a:p>
          <a:p>
            <a:pPr marL="285750" indent="-285750" rtl="0">
              <a:buFont typeface="Arial" panose="020B0604020202020204" pitchFamily="34" charset="0"/>
              <a:buChar char="•"/>
            </a:pPr>
            <a:r>
              <a:rPr lang="zh-Hans" sz="2000" b="0" i="0" u="none" strike="noStrike">
                <a:highlight>
                  <a:srgbClr val="000000">
                    <a:alpha val="0"/>
                  </a:srgbClr>
                </a:highlight>
                <a:latin typeface="Simsun"/>
                <a:ea typeface="Simsun"/>
              </a:rPr>
              <a:t>消除新建建筑中使用化石燃料的途径——这是全面建筑电气化的最佳机会</a:t>
            </a:r>
          </a:p>
          <a:p>
            <a:pPr marL="285750" indent="-285750" rtl="0">
              <a:buFont typeface="Arial" panose="020B0604020202020204" pitchFamily="34" charset="0"/>
              <a:buChar char="•"/>
            </a:pPr>
            <a:r>
              <a:rPr lang="zh-Hans" sz="2000" b="0" i="0" u="none" strike="noStrike">
                <a:highlight>
                  <a:srgbClr val="000000">
                    <a:alpha val="0"/>
                  </a:srgbClr>
                </a:highlight>
                <a:latin typeface="Simsun"/>
                <a:ea typeface="Simsun"/>
              </a:rPr>
              <a:t>监控结果</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0</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295353197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8" y="664739"/>
            <a:ext cx="11036983"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Massachusetts 州已确定到 2050 年实现净零排放的政策和计划</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4"/>
            <a:ext cx="6323077" cy="4771843"/>
          </a:xfrm>
        </p:spPr>
        <p:txBody>
          <a:bodyPr>
            <a:noAutofit/>
          </a:bodyPr>
          <a:lstStyle/>
          <a:p>
            <a:pPr rtl="0">
              <a:spcBef>
                <a:spcPts val="600"/>
              </a:spcBef>
            </a:pPr>
            <a:r>
              <a:rPr lang="zh-Hans" sz="2800" b="0" i="0" u="none" strike="noStrike">
                <a:solidFill>
                  <a:srgbClr val="000000"/>
                </a:solidFill>
                <a:highlight>
                  <a:srgbClr val="000000">
                    <a:alpha val="0"/>
                  </a:srgbClr>
                </a:highlight>
                <a:latin typeface="Simsun"/>
                <a:ea typeface="Simsun"/>
              </a:rPr>
              <a:t>来自该州脱碳路线图：</a:t>
            </a:r>
          </a:p>
          <a:p>
            <a:pPr lvl="1" rtl="0">
              <a:spcBef>
                <a:spcPts val="600"/>
              </a:spcBef>
            </a:pPr>
            <a:r>
              <a:rPr lang="zh-Hans" sz="2400" b="0" i="0" u="none" strike="noStrike">
                <a:solidFill>
                  <a:srgbClr val="000000"/>
                </a:solidFill>
                <a:highlight>
                  <a:srgbClr val="000000">
                    <a:alpha val="0"/>
                  </a:srgbClr>
                </a:highlight>
                <a:latin typeface="Simsun"/>
                <a:ea typeface="Simsun"/>
              </a:rPr>
              <a:t>“新建建筑提供了最简单、最具经济吸引力的方式来开始建筑行业脱碳……”</a:t>
            </a:r>
          </a:p>
          <a:p>
            <a:pPr lvl="1" rtl="0">
              <a:spcBef>
                <a:spcPts val="600"/>
              </a:spcBef>
            </a:pPr>
            <a:r>
              <a:rPr lang="zh-Hans" sz="2400" b="0" i="0" u="none" strike="noStrike">
                <a:solidFill>
                  <a:srgbClr val="000000"/>
                </a:solidFill>
                <a:highlight>
                  <a:srgbClr val="000000">
                    <a:alpha val="0"/>
                  </a:srgbClr>
                </a:highlight>
                <a:latin typeface="Simsun"/>
                <a:ea typeface="Simsun"/>
              </a:rPr>
              <a:t>“几乎所有新建筑都可以经济高效地追求高效的电气设计，从而提高居住者的舒适度并收回成本……”</a:t>
            </a:r>
          </a:p>
          <a:p>
            <a:pPr rtl="0">
              <a:spcBef>
                <a:spcPts val="600"/>
              </a:spcBef>
            </a:pPr>
            <a:r>
              <a:rPr lang="zh-Hans" sz="2800" b="0" i="0" u="none" strike="noStrike">
                <a:solidFill>
                  <a:srgbClr val="000000"/>
                </a:solidFill>
                <a:highlight>
                  <a:srgbClr val="000000">
                    <a:alpha val="0"/>
                  </a:srgbClr>
                </a:highlight>
                <a:latin typeface="Simsun"/>
                <a:ea typeface="Simsun"/>
              </a:rPr>
              <a:t>Massachusetts 州创建了专门的延伸代码</a:t>
            </a:r>
          </a:p>
          <a:p>
            <a:pPr lvl="1" rtl="0">
              <a:spcBef>
                <a:spcPts val="600"/>
              </a:spcBef>
            </a:pPr>
            <a:r>
              <a:rPr lang="zh-Hans" sz="2400" b="0" i="0" u="none" strike="noStrike">
                <a:solidFill>
                  <a:srgbClr val="000000"/>
                </a:solidFill>
                <a:highlight>
                  <a:srgbClr val="000000">
                    <a:alpha val="0"/>
                  </a:srgbClr>
                </a:highlight>
                <a:latin typeface="Simsun"/>
                <a:ea typeface="Simsun"/>
              </a:rPr>
              <a:t>设定了高性能标准，但仍然允许使用化石燃料建造新建筑</a:t>
            </a:r>
          </a:p>
          <a:p>
            <a:pPr lvl="1" rtl="0">
              <a:spcBef>
                <a:spcPts val="600"/>
              </a:spcBef>
            </a:pPr>
            <a:r>
              <a:rPr lang="zh-Hans" sz="2400" b="0" i="0" u="none" strike="noStrike">
                <a:solidFill>
                  <a:srgbClr val="000000"/>
                </a:solidFill>
                <a:highlight>
                  <a:srgbClr val="000000">
                    <a:alpha val="0"/>
                  </a:srgbClr>
                </a:highlight>
                <a:latin typeface="Simsun"/>
                <a:ea typeface="Simsun"/>
              </a:rPr>
              <a:t>2023 年 1 月被 Cambridge 采用</a:t>
            </a:r>
          </a:p>
          <a:p>
            <a:pPr>
              <a:spcBef>
                <a:spcPts val="600"/>
              </a:spcBef>
            </a:pPr>
            <a:endParaRPr lang="en-US">
              <a:solidFill>
                <a:schemeClr val="tx2"/>
              </a:solidFill>
              <a:latin typeface="Calibri" panose="020F0502020204030204" pitchFamily="34" charset="0"/>
            </a:endParaRPr>
          </a:p>
          <a:p>
            <a:pPr marL="0" indent="0">
              <a:spcBef>
                <a:spcPts val="600"/>
              </a:spcBef>
              <a:buNone/>
            </a:pPr>
            <a:endParaRPr lang="en-US" u="sng">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1</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1026" name="Picture 2" descr="MA 2050 Decarbonization Roadmap Cover Page">
            <a:extLst>
              <a:ext uri="{FF2B5EF4-FFF2-40B4-BE49-F238E27FC236}">
                <a16:creationId xmlns:a16="http://schemas.microsoft.com/office/drawing/2014/main" id="{5E38471F-BB1F-4440-80BD-5B45E606BA7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834359" y="1677724"/>
            <a:ext cx="3333750" cy="4305300"/>
          </a:xfrm>
          <a:prstGeom prst="rect">
            <a:avLst/>
          </a:prstGeom>
          <a:noFill/>
          <a:ln>
            <a:solidFill>
              <a:schemeClr val="accent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849311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8" y="789183"/>
            <a:ext cx="11036983" cy="702993"/>
          </a:xfrm>
        </p:spPr>
        <p:txBody>
          <a:bodyPr>
            <a:noAutofit/>
          </a:bodyPr>
          <a:lstStyle/>
          <a:p>
            <a:pPr rtl="0"/>
            <a:r>
              <a:rPr lang="zh-Hans" sz="3200" b="1" i="0" u="none" strike="noStrike" dirty="0">
                <a:solidFill>
                  <a:srgbClr val="1269A2"/>
                </a:solidFill>
                <a:highlight>
                  <a:srgbClr val="000000">
                    <a:alpha val="0"/>
                  </a:srgbClr>
                </a:highlight>
                <a:latin typeface="Simsun"/>
                <a:ea typeface="Simsun"/>
              </a:rPr>
              <a:t>实现我们的气候目标意味着在新建建筑中逐步淘汰化石燃料</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2036063"/>
            <a:ext cx="5372102" cy="4413503"/>
          </a:xfrm>
        </p:spPr>
        <p:txBody>
          <a:bodyPr>
            <a:noAutofit/>
          </a:bodyPr>
          <a:lstStyle/>
          <a:p>
            <a:pPr marL="0" lvl="1" indent="0" rtl="0">
              <a:spcBef>
                <a:spcPts val="600"/>
              </a:spcBef>
              <a:buNone/>
            </a:pPr>
            <a:r>
              <a:rPr lang="zh-Hans" sz="2400" b="0" i="0" u="none" strike="noStrike" dirty="0">
                <a:solidFill>
                  <a:srgbClr val="000000"/>
                </a:solidFill>
                <a:highlight>
                  <a:srgbClr val="000000">
                    <a:alpha val="0"/>
                  </a:srgbClr>
                </a:highlight>
                <a:latin typeface="Simsun"/>
                <a:ea typeface="Simsun"/>
              </a:rPr>
              <a:t>这意味着新建筑的建造不需要煤气炉或燃气热水器等化石燃料系统。</a:t>
            </a:r>
          </a:p>
          <a:p>
            <a:pPr marL="342900" lvl="1" indent="-342900" rtl="0">
              <a:spcBef>
                <a:spcPts val="600"/>
              </a:spcBef>
            </a:pPr>
            <a:r>
              <a:rPr lang="zh-Hans" sz="2400" b="0" i="0" u="none" strike="noStrike" dirty="0">
                <a:solidFill>
                  <a:srgbClr val="000000"/>
                </a:solidFill>
                <a:highlight>
                  <a:srgbClr val="000000">
                    <a:alpha val="0"/>
                  </a:srgbClr>
                </a:highlight>
                <a:latin typeface="Simsun"/>
                <a:ea typeface="Simsun"/>
              </a:rPr>
              <a:t>适用于天然气、石油和其他化石燃料</a:t>
            </a:r>
          </a:p>
          <a:p>
            <a:pPr marL="0" lvl="1" indent="0">
              <a:spcBef>
                <a:spcPts val="600"/>
              </a:spcBef>
              <a:buNone/>
            </a:pPr>
            <a:endParaRPr lang="en-US" dirty="0">
              <a:solidFill>
                <a:schemeClr val="tx2"/>
              </a:solidFill>
              <a:latin typeface="Calibri" panose="020F0502020204030204" pitchFamily="34" charset="0"/>
            </a:endParaRPr>
          </a:p>
          <a:p>
            <a:pPr marL="0" lvl="1" indent="0" rtl="0">
              <a:spcBef>
                <a:spcPts val="600"/>
              </a:spcBef>
              <a:buNone/>
            </a:pPr>
            <a:r>
              <a:rPr lang="zh-Hans" sz="2400" b="0" i="0" u="none" strike="noStrike" dirty="0">
                <a:solidFill>
                  <a:srgbClr val="000000"/>
                </a:solidFill>
                <a:highlight>
                  <a:srgbClr val="000000">
                    <a:alpha val="0"/>
                  </a:srgbClr>
                </a:highlight>
                <a:latin typeface="Simsun"/>
                <a:ea typeface="Simsun"/>
              </a:rPr>
              <a:t>其他几个做出气候承诺的城市和州也通过了对新建筑“禁止使用新天然气”的要求。</a:t>
            </a:r>
          </a:p>
          <a:p>
            <a:pPr marL="0" lvl="1" indent="0">
              <a:spcBef>
                <a:spcPts val="600"/>
              </a:spcBef>
              <a:buNone/>
            </a:pPr>
            <a:endParaRPr lang="en-US" dirty="0">
              <a:solidFill>
                <a:schemeClr val="tx2"/>
              </a:solidFill>
              <a:latin typeface="Calibri" panose="020F0502020204030204" pitchFamily="34" charset="0"/>
            </a:endParaRPr>
          </a:p>
          <a:p>
            <a:pPr>
              <a:spcBef>
                <a:spcPts val="600"/>
              </a:spcBef>
            </a:pPr>
            <a:endParaRPr lang="en-US" dirty="0">
              <a:solidFill>
                <a:schemeClr val="tx2"/>
              </a:solidFill>
              <a:latin typeface="Calibri" panose="020F0502020204030204" pitchFamily="34" charset="0"/>
            </a:endParaRPr>
          </a:p>
          <a:p>
            <a:pPr marL="0" indent="0">
              <a:spcBef>
                <a:spcPts val="600"/>
              </a:spcBef>
              <a:buNone/>
            </a:pPr>
            <a:endParaRPr lang="en-US" u="sng" dirty="0">
              <a:solidFill>
                <a:schemeClr val="tx2"/>
              </a:solidFill>
              <a:latin typeface="Calibri" panose="020F0502020204030204" pitchFamily="34" charset="0"/>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17" name="Picture 16" descr="New York fossil fuel ban article">
            <a:extLst>
              <a:ext uri="{FF2B5EF4-FFF2-40B4-BE49-F238E27FC236}">
                <a16:creationId xmlns:a16="http://schemas.microsoft.com/office/drawing/2014/main" id="{3C681B0C-2B64-6E7B-C0E0-5ADEFA510BDC}"/>
              </a:ext>
            </a:extLst>
          </p:cNvPr>
          <p:cNvPicPr>
            <a:picLocks noChangeAspect="1"/>
          </p:cNvPicPr>
          <p:nvPr/>
        </p:nvPicPr>
        <p:blipFill>
          <a:blip r:embed="rId2"/>
          <a:stretch>
            <a:fillRect/>
          </a:stretch>
        </p:blipFill>
        <p:spPr>
          <a:xfrm>
            <a:off x="6384490" y="1426464"/>
            <a:ext cx="2940322" cy="4614672"/>
          </a:xfrm>
          <a:prstGeom prst="rect">
            <a:avLst/>
          </a:prstGeom>
          <a:ln>
            <a:solidFill>
              <a:schemeClr val="accent6"/>
            </a:solidFill>
          </a:ln>
        </p:spPr>
      </p:pic>
      <p:pic>
        <p:nvPicPr>
          <p:cNvPr id="21" name="Picture 20" descr="San Jose fossil fuel ban">
            <a:extLst>
              <a:ext uri="{FF2B5EF4-FFF2-40B4-BE49-F238E27FC236}">
                <a16:creationId xmlns:a16="http://schemas.microsoft.com/office/drawing/2014/main" id="{B280E497-EB8D-C881-CA0B-61D000E7EDF7}"/>
              </a:ext>
            </a:extLst>
          </p:cNvPr>
          <p:cNvPicPr>
            <a:picLocks noChangeAspect="1"/>
          </p:cNvPicPr>
          <p:nvPr/>
        </p:nvPicPr>
        <p:blipFill>
          <a:blip r:embed="rId3"/>
          <a:stretch>
            <a:fillRect/>
          </a:stretch>
        </p:blipFill>
        <p:spPr>
          <a:xfrm>
            <a:off x="6831773" y="2580061"/>
            <a:ext cx="4010568" cy="4277939"/>
          </a:xfrm>
          <a:prstGeom prst="rect">
            <a:avLst/>
          </a:prstGeom>
          <a:ln>
            <a:solidFill>
              <a:schemeClr val="bg2"/>
            </a:solidFill>
          </a:ln>
        </p:spPr>
      </p:pic>
      <p:pic>
        <p:nvPicPr>
          <p:cNvPr id="18" name="Picture 17" descr="DC fossil fuel ban article">
            <a:extLst>
              <a:ext uri="{FF2B5EF4-FFF2-40B4-BE49-F238E27FC236}">
                <a16:creationId xmlns:a16="http://schemas.microsoft.com/office/drawing/2014/main" id="{75153018-04CD-37B5-8939-34730B5E95F1}"/>
              </a:ext>
            </a:extLst>
          </p:cNvPr>
          <p:cNvPicPr>
            <a:picLocks noChangeAspect="1"/>
          </p:cNvPicPr>
          <p:nvPr/>
        </p:nvPicPr>
        <p:blipFill>
          <a:blip r:embed="rId4"/>
          <a:stretch>
            <a:fillRect/>
          </a:stretch>
        </p:blipFill>
        <p:spPr>
          <a:xfrm>
            <a:off x="8596348" y="1838265"/>
            <a:ext cx="3300226" cy="4548960"/>
          </a:xfrm>
          <a:prstGeom prst="rect">
            <a:avLst/>
          </a:prstGeom>
          <a:ln>
            <a:solidFill>
              <a:schemeClr val="accent6"/>
            </a:solidFill>
          </a:ln>
        </p:spPr>
      </p:pic>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2</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93696487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75045" y="788424"/>
            <a:ext cx="11036983"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建筑商必须安装清洁的全电力系统</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9" y="1837506"/>
            <a:ext cx="5469638" cy="4612061"/>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无化石燃料意味着需要使用热泵和热泵热水器等系统建造新建筑。</a:t>
            </a:r>
          </a:p>
          <a:p>
            <a:pPr marL="0" indent="0">
              <a:spcBef>
                <a:spcPts val="600"/>
              </a:spcBef>
              <a:buNone/>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清洁空气和室内空气质量的好处是有据可查的。</a:t>
            </a:r>
          </a:p>
          <a:p>
            <a:pPr marL="0" indent="0">
              <a:spcBef>
                <a:spcPts val="600"/>
              </a:spcBef>
              <a:buNone/>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这也阻止了新建筑开发商安装随后必须拆除的新天然气基础设施。</a:t>
            </a:r>
          </a:p>
          <a:p>
            <a:pPr>
              <a:spcBef>
                <a:spcPts val="600"/>
              </a:spcBef>
            </a:pPr>
            <a:endParaRPr lang="en-US">
              <a:solidFill>
                <a:schemeClr val="tx2"/>
              </a:solidFill>
              <a:latin typeface="Calibri" panose="020F0502020204030204" pitchFamily="34" charset="0"/>
            </a:endParaRPr>
          </a:p>
          <a:p>
            <a:pPr marL="0" indent="0">
              <a:spcBef>
                <a:spcPts val="600"/>
              </a:spcBef>
              <a:buNone/>
            </a:pPr>
            <a:endParaRPr lang="en-US" u="sng">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3</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4" name="Picture 3" descr="What is a Clean Energy Home webpage from MassCEC">
            <a:extLst>
              <a:ext uri="{FF2B5EF4-FFF2-40B4-BE49-F238E27FC236}">
                <a16:creationId xmlns:a16="http://schemas.microsoft.com/office/drawing/2014/main" id="{C61A5505-5E8C-9D22-F113-0E5BDDA7B5C7}"/>
              </a:ext>
            </a:extLst>
          </p:cNvPr>
          <p:cNvPicPr>
            <a:picLocks noChangeAspect="1"/>
          </p:cNvPicPr>
          <p:nvPr/>
        </p:nvPicPr>
        <p:blipFill>
          <a:blip r:embed="rId2"/>
          <a:stretch>
            <a:fillRect/>
          </a:stretch>
        </p:blipFill>
        <p:spPr>
          <a:xfrm>
            <a:off x="6708970" y="1852444"/>
            <a:ext cx="4487625" cy="3547873"/>
          </a:xfrm>
          <a:prstGeom prst="rect">
            <a:avLst/>
          </a:prstGeom>
          <a:ln>
            <a:solidFill>
              <a:schemeClr val="accent1"/>
            </a:solidFill>
          </a:ln>
        </p:spPr>
      </p:pic>
      <p:pic>
        <p:nvPicPr>
          <p:cNvPr id="7" name="Picture 6" descr="Gas appliances pollute indoor and outdoor air">
            <a:extLst>
              <a:ext uri="{FF2B5EF4-FFF2-40B4-BE49-F238E27FC236}">
                <a16:creationId xmlns:a16="http://schemas.microsoft.com/office/drawing/2014/main" id="{F80A9202-A2C5-9E92-EBB6-2C4A9CFED7CC}"/>
              </a:ext>
            </a:extLst>
          </p:cNvPr>
          <p:cNvPicPr>
            <a:picLocks noChangeAspect="1"/>
          </p:cNvPicPr>
          <p:nvPr/>
        </p:nvPicPr>
        <p:blipFill>
          <a:blip r:embed="rId3"/>
          <a:stretch>
            <a:fillRect/>
          </a:stretch>
        </p:blipFill>
        <p:spPr>
          <a:xfrm>
            <a:off x="8242481" y="3429000"/>
            <a:ext cx="3469547" cy="2807475"/>
          </a:xfrm>
          <a:prstGeom prst="rect">
            <a:avLst/>
          </a:prstGeom>
          <a:ln>
            <a:solidFill>
              <a:schemeClr val="accent1"/>
            </a:solidFill>
          </a:ln>
        </p:spPr>
      </p:pic>
    </p:spTree>
    <p:extLst>
      <p:ext uri="{BB962C8B-B14F-4D97-AF65-F5344CB8AC3E}">
        <p14:creationId xmlns:p14="http://schemas.microsoft.com/office/powerpoint/2010/main" val="174551475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议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600"/>
              </a:spcBef>
              <a:buNone/>
            </a:pPr>
            <a:r>
              <a:rPr lang="zh-Hans" sz="2800" b="0" i="0" u="none" strike="noStrike">
                <a:solidFill>
                  <a:srgbClr val="BFBFBF"/>
                </a:solidFill>
                <a:highlight>
                  <a:srgbClr val="000000">
                    <a:alpha val="0"/>
                  </a:srgbClr>
                </a:highlight>
                <a:latin typeface="Simsun"/>
                <a:ea typeface="Simsun"/>
              </a:rPr>
              <a:t>背景：</a:t>
            </a:r>
          </a:p>
          <a:p>
            <a:pPr lvl="1" rtl="0">
              <a:spcBef>
                <a:spcPts val="600"/>
              </a:spcBef>
            </a:pPr>
            <a:r>
              <a:rPr lang="zh-Hans" sz="2400" b="0" i="0" u="none" strike="noStrike">
                <a:solidFill>
                  <a:srgbClr val="BFBFBF"/>
                </a:solidFill>
                <a:highlight>
                  <a:srgbClr val="000000">
                    <a:alpha val="0"/>
                  </a:srgbClr>
                </a:highlight>
                <a:latin typeface="Simsun"/>
                <a:ea typeface="Simsun"/>
              </a:rPr>
              <a:t>Cambridge 应对气候变化的举措</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新规定：</a:t>
            </a:r>
          </a:p>
          <a:p>
            <a:pPr lvl="1" rtl="0">
              <a:spcBef>
                <a:spcPts val="600"/>
              </a:spcBef>
            </a:pPr>
            <a:r>
              <a:rPr lang="zh-Hans" sz="2400" b="0" i="0" u="none" strike="noStrike">
                <a:solidFill>
                  <a:srgbClr val="000000"/>
                </a:solidFill>
                <a:highlight>
                  <a:srgbClr val="000000">
                    <a:alpha val="0"/>
                  </a:srgbClr>
                </a:highlight>
                <a:latin typeface="Simsun"/>
                <a:ea typeface="Simsun"/>
              </a:rPr>
              <a:t>Massachusetts 州无化石燃料示范计划</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提议的要求：</a:t>
            </a:r>
          </a:p>
          <a:p>
            <a:pPr lvl="1" rtl="0">
              <a:spcBef>
                <a:spcPts val="600"/>
              </a:spcBef>
            </a:pPr>
            <a:r>
              <a:rPr lang="zh-Hans" sz="2400" b="0" i="0" u="none" strike="noStrike">
                <a:solidFill>
                  <a:srgbClr val="BFBFBF"/>
                </a:solidFill>
                <a:highlight>
                  <a:srgbClr val="000000">
                    <a:alpha val="0"/>
                  </a:srgbClr>
                </a:highlight>
                <a:latin typeface="Simsun"/>
                <a:ea typeface="Simsun"/>
              </a:rPr>
              <a:t>消除在新建筑和重大翻修中使用化石燃料</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采用监管的时间表和后续步骤</a:t>
            </a:r>
            <a:br>
              <a:rPr lang="zh-Hans" sz="28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问题和答案</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4</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26757428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823249"/>
            <a:ext cx="10515600" cy="1049082"/>
          </a:xfrm>
        </p:spPr>
        <p:txBody>
          <a:bodyPr>
            <a:noAutofit/>
          </a:bodyPr>
          <a:lstStyle/>
          <a:p>
            <a:pPr rtl="0"/>
            <a:r>
              <a:rPr lang="zh-Hans" sz="3600" b="1" i="0" u="none" strike="noStrike">
                <a:solidFill>
                  <a:srgbClr val="1269A2"/>
                </a:solidFill>
                <a:highlight>
                  <a:srgbClr val="000000">
                    <a:alpha val="0"/>
                  </a:srgbClr>
                </a:highlight>
                <a:latin typeface="Simsun"/>
                <a:ea typeface="Simsun"/>
              </a:rPr>
              <a:t>Massachusetts 州制定了无化石燃料示范计划</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922093"/>
            <a:ext cx="10744203" cy="4227775"/>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Massachusetts 州立法机关已授权 10 个社区对新建和重大改造实施</a:t>
            </a:r>
            <a:r>
              <a:rPr lang="zh-Hans" sz="2800" b="1" i="0" u="none" strike="noStrike">
                <a:solidFill>
                  <a:srgbClr val="000000"/>
                </a:solidFill>
                <a:highlight>
                  <a:srgbClr val="000000">
                    <a:alpha val="0"/>
                  </a:srgbClr>
                </a:highlight>
                <a:latin typeface="Simsun"/>
                <a:ea typeface="Simsun"/>
              </a:rPr>
              <a:t>无化石燃料要求</a:t>
            </a:r>
            <a:r>
              <a:rPr lang="zh-Hans" sz="2800" b="0" i="0" u="none" strike="noStrike">
                <a:solidFill>
                  <a:srgbClr val="000000"/>
                </a:solidFill>
                <a:highlight>
                  <a:srgbClr val="000000">
                    <a:alpha val="0"/>
                  </a:srgbClr>
                </a:highlight>
                <a:latin typeface="Simsun"/>
                <a:ea typeface="Simsun"/>
              </a:rPr>
              <a:t>。</a:t>
            </a:r>
          </a:p>
          <a:p>
            <a:pPr lvl="1" rtl="0">
              <a:spcBef>
                <a:spcPts val="600"/>
              </a:spcBef>
            </a:pPr>
            <a:r>
              <a:rPr lang="zh-Hans" sz="2400" b="0" i="1" u="none" strike="noStrike">
                <a:solidFill>
                  <a:srgbClr val="000000"/>
                </a:solidFill>
                <a:highlight>
                  <a:srgbClr val="000000">
                    <a:alpha val="0"/>
                  </a:srgbClr>
                </a:highlight>
                <a:latin typeface="Simsun"/>
                <a:ea typeface="Simsun"/>
              </a:rPr>
              <a:t>推动清洁能源和海上风电法案 (2022) 的一部分</a:t>
            </a:r>
          </a:p>
          <a:p>
            <a:pPr>
              <a:spcBef>
                <a:spcPts val="600"/>
              </a:spcBef>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Massachusetts 州能源资源部制定了法规和建议条例（“示范规则”）。</a:t>
            </a:r>
          </a:p>
          <a:p>
            <a:pPr lvl="1" rtl="0">
              <a:spcBef>
                <a:spcPts val="600"/>
              </a:spcBef>
            </a:pPr>
            <a:r>
              <a:rPr lang="zh-Hans" sz="2400" b="0" i="0" u="none" strike="noStrike">
                <a:solidFill>
                  <a:srgbClr val="000000"/>
                </a:solidFill>
                <a:highlight>
                  <a:srgbClr val="000000">
                    <a:alpha val="0"/>
                  </a:srgbClr>
                </a:highlight>
                <a:latin typeface="Simsun"/>
                <a:ea typeface="Simsun"/>
              </a:rPr>
              <a:t>Cambridge 为 DOER 在今年冬天制定法规方面提供了意见。</a:t>
            </a:r>
          </a:p>
          <a:p>
            <a:pPr lvl="1" rtl="0">
              <a:spcBef>
                <a:spcPts val="600"/>
              </a:spcBef>
            </a:pPr>
            <a:r>
              <a:rPr lang="zh-Hans" sz="2400" b="0" i="0" u="none" strike="noStrike">
                <a:solidFill>
                  <a:srgbClr val="000000"/>
                </a:solidFill>
                <a:highlight>
                  <a:srgbClr val="000000">
                    <a:alpha val="0"/>
                  </a:srgbClr>
                </a:highlight>
                <a:latin typeface="Simsun"/>
                <a:ea typeface="Simsun"/>
              </a:rPr>
              <a:t>最终法规已于五月送交立法机关。</a:t>
            </a:r>
          </a:p>
          <a:p>
            <a:pPr marL="0" indent="0">
              <a:spcBef>
                <a:spcPts val="600"/>
              </a:spcBef>
              <a:buNone/>
            </a:pPr>
            <a:endParaRPr lang="en-US" u="sng">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5</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44315958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880736"/>
            <a:ext cx="10515600" cy="1049082"/>
          </a:xfrm>
        </p:spPr>
        <p:txBody>
          <a:bodyPr>
            <a:noAutofit/>
          </a:bodyPr>
          <a:lstStyle/>
          <a:p>
            <a:pPr rtl="0"/>
            <a:r>
              <a:rPr lang="zh-Hans" sz="4400" b="1" i="0" u="none" strike="noStrike" dirty="0">
                <a:solidFill>
                  <a:srgbClr val="1269A2"/>
                </a:solidFill>
                <a:highlight>
                  <a:srgbClr val="000000">
                    <a:alpha val="0"/>
                  </a:srgbClr>
                </a:highlight>
                <a:latin typeface="Simsun"/>
                <a:ea typeface="Simsun"/>
              </a:rPr>
              <a:t>Cambridge 获准参与 Massachusetts 州示范计划</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2037067"/>
            <a:ext cx="5059063" cy="4112801"/>
          </a:xfrm>
        </p:spPr>
        <p:txBody>
          <a:bodyPr>
            <a:noAutofit/>
          </a:bodyPr>
          <a:lstStyle/>
          <a:p>
            <a:pPr marL="0" indent="0" rtl="0">
              <a:spcBef>
                <a:spcPts val="1800"/>
              </a:spcBef>
              <a:buNone/>
            </a:pPr>
            <a:r>
              <a:rPr lang="zh-Hans" sz="2400" b="0" i="0" u="none" strike="noStrike" dirty="0">
                <a:solidFill>
                  <a:srgbClr val="000000"/>
                </a:solidFill>
                <a:highlight>
                  <a:srgbClr val="000000">
                    <a:alpha val="0"/>
                  </a:srgbClr>
                </a:highlight>
                <a:latin typeface="Simsun"/>
                <a:ea typeface="Simsun"/>
              </a:rPr>
              <a:t>Cambridge 于 2022 年 4 月提交了一份地方规则请愿书，请求获得这一授权，因此我们是一个优先社区。</a:t>
            </a:r>
          </a:p>
          <a:p>
            <a:pPr marL="0" indent="0" rtl="0">
              <a:spcBef>
                <a:spcPts val="1800"/>
              </a:spcBef>
              <a:buNone/>
            </a:pPr>
            <a:r>
              <a:rPr lang="zh-Hans" sz="2400" b="0" i="0" u="none" strike="noStrike" dirty="0">
                <a:solidFill>
                  <a:srgbClr val="000000"/>
                </a:solidFill>
                <a:highlight>
                  <a:srgbClr val="000000">
                    <a:alpha val="0"/>
                  </a:srgbClr>
                </a:highlight>
                <a:latin typeface="Simsun"/>
                <a:ea typeface="Simsun"/>
              </a:rPr>
              <a:t>城市或城镇必须满足 10% 的经济适用住房要求或 MBTA 社区多户分区</a:t>
            </a:r>
          </a:p>
          <a:p>
            <a:pPr rtl="0">
              <a:spcBef>
                <a:spcPts val="1800"/>
              </a:spcBef>
            </a:pPr>
            <a:r>
              <a:rPr lang="zh-Hans" sz="2400" b="0" i="0" u="none" strike="noStrike" dirty="0">
                <a:solidFill>
                  <a:srgbClr val="000000"/>
                </a:solidFill>
                <a:highlight>
                  <a:srgbClr val="000000">
                    <a:alpha val="0"/>
                  </a:srgbClr>
                </a:highlight>
                <a:latin typeface="Simsun"/>
                <a:ea typeface="Simsun"/>
              </a:rPr>
              <a:t>如果优先社区退出，DOER 可以选择替代社区。Somerville 和Boston 都投票决定推进地方自治请愿书。</a:t>
            </a:r>
          </a:p>
          <a:p>
            <a:pPr>
              <a:spcBef>
                <a:spcPts val="600"/>
              </a:spcBef>
            </a:pPr>
            <a:endParaRPr lang="en-US" sz="2400" dirty="0">
              <a:solidFill>
                <a:schemeClr val="tx2"/>
              </a:solidFill>
              <a:latin typeface="Calibri" panose="020F0502020204030204" pitchFamily="34" charset="0"/>
            </a:endParaRPr>
          </a:p>
          <a:p>
            <a:pPr marL="0" indent="0">
              <a:spcBef>
                <a:spcPts val="600"/>
              </a:spcBef>
              <a:buNone/>
            </a:pPr>
            <a:endParaRPr lang="en-US" sz="2400" u="sng" dirty="0">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6</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4" name="Picture 3" descr="List of 10 communities that are selected">
            <a:extLst>
              <a:ext uri="{FF2B5EF4-FFF2-40B4-BE49-F238E27FC236}">
                <a16:creationId xmlns:a16="http://schemas.microsoft.com/office/drawing/2014/main" id="{99A41550-23C3-5D52-D831-E73DEE9926C0}"/>
              </a:ext>
            </a:extLst>
          </p:cNvPr>
          <p:cNvPicPr>
            <a:picLocks noChangeAspect="1"/>
          </p:cNvPicPr>
          <p:nvPr/>
        </p:nvPicPr>
        <p:blipFill>
          <a:blip r:embed="rId3"/>
          <a:stretch>
            <a:fillRect/>
          </a:stretch>
        </p:blipFill>
        <p:spPr>
          <a:xfrm>
            <a:off x="6096000" y="2037067"/>
            <a:ext cx="5698913" cy="3153767"/>
          </a:xfrm>
          <a:prstGeom prst="rect">
            <a:avLst/>
          </a:prstGeom>
        </p:spPr>
      </p:pic>
      <p:sp>
        <p:nvSpPr>
          <p:cNvPr id="7" name="Arrow: Left 6">
            <a:extLst>
              <a:ext uri="{FF2B5EF4-FFF2-40B4-BE49-F238E27FC236}">
                <a16:creationId xmlns:a16="http://schemas.microsoft.com/office/drawing/2014/main" id="{97C953B7-6F41-0F4A-2431-0C481CDC431B}"/>
              </a:ext>
              <a:ext uri="{C183D7F6-B498-43B3-948B-1728B52AA6E4}">
                <adec:decorative xmlns:adec="http://schemas.microsoft.com/office/drawing/2017/decorative" val="1"/>
              </a:ext>
            </a:extLst>
          </p:cNvPr>
          <p:cNvSpPr/>
          <p:nvPr/>
        </p:nvSpPr>
        <p:spPr>
          <a:xfrm>
            <a:off x="11419671" y="2670536"/>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Arrow: Left 10">
            <a:extLst>
              <a:ext uri="{FF2B5EF4-FFF2-40B4-BE49-F238E27FC236}">
                <a16:creationId xmlns:a16="http://schemas.microsoft.com/office/drawing/2014/main" id="{E3FBDFC8-7ED1-B7D1-0592-54303AA322D9}"/>
              </a:ext>
              <a:ext uri="{C183D7F6-B498-43B3-948B-1728B52AA6E4}">
                <adec:decorative xmlns:adec="http://schemas.microsoft.com/office/drawing/2017/decorative" val="1"/>
              </a:ext>
            </a:extLst>
          </p:cNvPr>
          <p:cNvSpPr/>
          <p:nvPr/>
        </p:nvSpPr>
        <p:spPr>
          <a:xfrm>
            <a:off x="11419671" y="2954740"/>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Arrow: Left 11">
            <a:extLst>
              <a:ext uri="{FF2B5EF4-FFF2-40B4-BE49-F238E27FC236}">
                <a16:creationId xmlns:a16="http://schemas.microsoft.com/office/drawing/2014/main" id="{9DA9AB8A-E633-E98B-87E1-EB2E0ECE41CB}"/>
              </a:ext>
              <a:ext uri="{C183D7F6-B498-43B3-948B-1728B52AA6E4}">
                <adec:decorative xmlns:adec="http://schemas.microsoft.com/office/drawing/2017/decorative" val="1"/>
              </a:ext>
            </a:extLst>
          </p:cNvPr>
          <p:cNvSpPr/>
          <p:nvPr/>
        </p:nvSpPr>
        <p:spPr>
          <a:xfrm>
            <a:off x="11419671" y="3233005"/>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Arrow: Left 12">
            <a:extLst>
              <a:ext uri="{FF2B5EF4-FFF2-40B4-BE49-F238E27FC236}">
                <a16:creationId xmlns:a16="http://schemas.microsoft.com/office/drawing/2014/main" id="{F5C348E1-88C4-DCA4-8D84-07546A3F3CD6}"/>
              </a:ext>
              <a:ext uri="{C183D7F6-B498-43B3-948B-1728B52AA6E4}">
                <adec:decorative xmlns:adec="http://schemas.microsoft.com/office/drawing/2017/decorative" val="1"/>
              </a:ext>
            </a:extLst>
          </p:cNvPr>
          <p:cNvSpPr/>
          <p:nvPr/>
        </p:nvSpPr>
        <p:spPr>
          <a:xfrm>
            <a:off x="11419671" y="3511270"/>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Arrow: Left 13">
            <a:extLst>
              <a:ext uri="{FF2B5EF4-FFF2-40B4-BE49-F238E27FC236}">
                <a16:creationId xmlns:a16="http://schemas.microsoft.com/office/drawing/2014/main" id="{9B5F73FF-84A3-76CA-A691-0B774DE4B159}"/>
              </a:ext>
              <a:ext uri="{C183D7F6-B498-43B3-948B-1728B52AA6E4}">
                <adec:decorative xmlns:adec="http://schemas.microsoft.com/office/drawing/2017/decorative" val="1"/>
              </a:ext>
            </a:extLst>
          </p:cNvPr>
          <p:cNvSpPr/>
          <p:nvPr/>
        </p:nvSpPr>
        <p:spPr>
          <a:xfrm>
            <a:off x="11419671" y="4038841"/>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Arrow: Left 14">
            <a:extLst>
              <a:ext uri="{FF2B5EF4-FFF2-40B4-BE49-F238E27FC236}">
                <a16:creationId xmlns:a16="http://schemas.microsoft.com/office/drawing/2014/main" id="{6689F8E4-5C11-B8B5-AB53-B485093BFBC1}"/>
              </a:ext>
              <a:ext uri="{C183D7F6-B498-43B3-948B-1728B52AA6E4}">
                <adec:decorative xmlns:adec="http://schemas.microsoft.com/office/drawing/2017/decorative" val="1"/>
              </a:ext>
            </a:extLst>
          </p:cNvPr>
          <p:cNvSpPr/>
          <p:nvPr/>
        </p:nvSpPr>
        <p:spPr>
          <a:xfrm>
            <a:off x="11419671" y="4879019"/>
            <a:ext cx="375242" cy="234298"/>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Arrow: Left 15">
            <a:extLst>
              <a:ext uri="{FF2B5EF4-FFF2-40B4-BE49-F238E27FC236}">
                <a16:creationId xmlns:a16="http://schemas.microsoft.com/office/drawing/2014/main" id="{8B3741B8-9816-4D55-42CA-6EFF6F5242E4}"/>
              </a:ext>
              <a:ext uri="{C183D7F6-B498-43B3-948B-1728B52AA6E4}">
                <adec:decorative xmlns:adec="http://schemas.microsoft.com/office/drawing/2017/decorative" val="1"/>
              </a:ext>
            </a:extLst>
          </p:cNvPr>
          <p:cNvSpPr/>
          <p:nvPr/>
        </p:nvSpPr>
        <p:spPr>
          <a:xfrm>
            <a:off x="6905451" y="5380526"/>
            <a:ext cx="406608" cy="300837"/>
          </a:xfrm>
          <a:prstGeom prst="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TextBox 17">
            <a:extLst>
              <a:ext uri="{FF2B5EF4-FFF2-40B4-BE49-F238E27FC236}">
                <a16:creationId xmlns:a16="http://schemas.microsoft.com/office/drawing/2014/main" id="{131F2AF7-DFEE-A6A3-7AB5-0606F78CD218}"/>
              </a:ext>
            </a:extLst>
          </p:cNvPr>
          <p:cNvSpPr txBox="1"/>
          <p:nvPr/>
        </p:nvSpPr>
        <p:spPr>
          <a:xfrm>
            <a:off x="7441790" y="5298872"/>
            <a:ext cx="4626222" cy="1200329"/>
          </a:xfrm>
          <a:prstGeom prst="rect">
            <a:avLst/>
          </a:prstGeom>
          <a:noFill/>
        </p:spPr>
        <p:txBody>
          <a:bodyPr wrap="square" rtlCol="0">
            <a:noAutofit/>
          </a:bodyPr>
          <a:lstStyle/>
          <a:p>
            <a:pPr rtl="0"/>
            <a:r>
              <a:rPr lang="zh-Hans" sz="2000" b="0" i="0" u="none" strike="noStrike" dirty="0">
                <a:solidFill>
                  <a:srgbClr val="000000"/>
                </a:solidFill>
                <a:highlight>
                  <a:srgbClr val="000000">
                    <a:alpha val="0"/>
                  </a:srgbClr>
                </a:highlight>
                <a:latin typeface="Simsun"/>
                <a:ea typeface="Simsun"/>
              </a:rPr>
              <a:t>= 市/镇已投票通过无化石燃料要求</a:t>
            </a:r>
          </a:p>
          <a:p>
            <a:pPr rtl="0"/>
            <a:r>
              <a:rPr lang="zh-Hans" sz="2000" b="0" i="0" u="none" strike="noStrike" dirty="0">
                <a:solidFill>
                  <a:srgbClr val="000000"/>
                </a:solidFill>
                <a:highlight>
                  <a:srgbClr val="000000">
                    <a:alpha val="0"/>
                  </a:srgbClr>
                </a:highlight>
                <a:latin typeface="Simsun"/>
                <a:ea typeface="Simsun"/>
              </a:rPr>
              <a:t>（截至 2023 年 7 月 10 日）</a:t>
            </a:r>
          </a:p>
        </p:txBody>
      </p:sp>
    </p:spTree>
    <p:extLst>
      <p:ext uri="{BB962C8B-B14F-4D97-AF65-F5344CB8AC3E}">
        <p14:creationId xmlns:p14="http://schemas.microsoft.com/office/powerpoint/2010/main" val="234647706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议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600"/>
              </a:spcBef>
              <a:buNone/>
            </a:pPr>
            <a:r>
              <a:rPr lang="zh-Hans" sz="2800" b="0" i="0" u="none" strike="noStrike">
                <a:solidFill>
                  <a:srgbClr val="BFBFBF"/>
                </a:solidFill>
                <a:highlight>
                  <a:srgbClr val="000000">
                    <a:alpha val="0"/>
                  </a:srgbClr>
                </a:highlight>
                <a:latin typeface="Simsun"/>
                <a:ea typeface="Simsun"/>
              </a:rPr>
              <a:t>背景：</a:t>
            </a:r>
          </a:p>
          <a:p>
            <a:pPr lvl="1" rtl="0">
              <a:spcBef>
                <a:spcPts val="600"/>
              </a:spcBef>
            </a:pPr>
            <a:r>
              <a:rPr lang="zh-Hans" sz="2400" b="0" i="0" u="none" strike="noStrike">
                <a:solidFill>
                  <a:srgbClr val="BFBFBF"/>
                </a:solidFill>
                <a:highlight>
                  <a:srgbClr val="000000">
                    <a:alpha val="0"/>
                  </a:srgbClr>
                </a:highlight>
                <a:latin typeface="Simsun"/>
                <a:ea typeface="Simsun"/>
              </a:rPr>
              <a:t>Cambridge 应对气候变化的举措</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新规定：</a:t>
            </a:r>
          </a:p>
          <a:p>
            <a:pPr lvl="1" rtl="0">
              <a:spcBef>
                <a:spcPts val="600"/>
              </a:spcBef>
            </a:pPr>
            <a:r>
              <a:rPr lang="zh-Hans" sz="2400" b="0" i="0" u="none" strike="noStrike">
                <a:solidFill>
                  <a:srgbClr val="BFBFBF"/>
                </a:solidFill>
                <a:highlight>
                  <a:srgbClr val="000000">
                    <a:alpha val="0"/>
                  </a:srgbClr>
                </a:highlight>
                <a:latin typeface="Simsun"/>
                <a:ea typeface="Simsun"/>
              </a:rPr>
              <a:t>Massachusetts 州无化石燃料示范计划</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提议的要求：</a:t>
            </a:r>
          </a:p>
          <a:p>
            <a:pPr lvl="1" rtl="0">
              <a:spcBef>
                <a:spcPts val="600"/>
              </a:spcBef>
            </a:pPr>
            <a:r>
              <a:rPr lang="zh-Hans" sz="2400" b="0" i="0" u="none" strike="noStrike">
                <a:solidFill>
                  <a:srgbClr val="000000"/>
                </a:solidFill>
                <a:highlight>
                  <a:srgbClr val="000000">
                    <a:alpha val="0"/>
                  </a:srgbClr>
                </a:highlight>
                <a:latin typeface="Simsun"/>
                <a:ea typeface="Simsun"/>
              </a:rPr>
              <a:t>消除在新建筑和重大翻修中使用化石燃料</a:t>
            </a:r>
            <a:br>
              <a:rPr lang="zh-Hans" sz="2400" b="0" i="0" u="none" strike="noStrike">
                <a:solidFill>
                  <a:srgbClr val="000000"/>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采用监管的时间表和后续步骤</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问题和答案</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7</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85423740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示范计划要求新建筑和重大翻新工程不使用化石燃料</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9" y="1805433"/>
            <a:ext cx="6627878" cy="4344435"/>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新建筑均采用无化石燃料。</a:t>
            </a: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国家法规涵盖并定义了重大翻修（通常占建筑物建筑面积的 50% 或更多）。</a:t>
            </a:r>
          </a:p>
          <a:p>
            <a:pPr marL="0" indent="0" rtl="0">
              <a:spcBef>
                <a:spcPts val="600"/>
              </a:spcBef>
              <a:buNone/>
            </a:pPr>
            <a:r>
              <a:rPr lang="zh-Hans" sz="2800" b="1" i="1" u="none" strike="noStrike">
                <a:solidFill>
                  <a:srgbClr val="000000"/>
                </a:solidFill>
                <a:highlight>
                  <a:srgbClr val="000000">
                    <a:alpha val="0"/>
                  </a:srgbClr>
                </a:highlight>
                <a:latin typeface="Simsun"/>
                <a:ea typeface="Simsun"/>
              </a:rPr>
              <a:t>根据州法规豁免：医院、医疗机构和实验室</a:t>
            </a:r>
          </a:p>
          <a:p>
            <a:pPr>
              <a:spcBef>
                <a:spcPts val="600"/>
              </a:spcBef>
            </a:pPr>
            <a:endParaRPr lang="en-US">
              <a:solidFill>
                <a:schemeClr val="tx2"/>
              </a:solidFill>
              <a:latin typeface="Calibri" panose="020F0502020204030204" pitchFamily="34" charset="0"/>
            </a:endParaRPr>
          </a:p>
          <a:p>
            <a:pPr>
              <a:spcBef>
                <a:spcPts val="600"/>
              </a:spcBef>
            </a:pPr>
            <a:endParaRPr lang="en-US">
              <a:solidFill>
                <a:schemeClr val="tx2"/>
              </a:solidFill>
              <a:latin typeface="Calibri" panose="020F0502020204030204" pitchFamily="34" charset="0"/>
            </a:endParaRPr>
          </a:p>
          <a:p>
            <a:pPr marL="0" indent="0">
              <a:spcBef>
                <a:spcPts val="600"/>
              </a:spcBef>
              <a:buNone/>
            </a:pPr>
            <a:endParaRPr lang="en-US" u="sng">
              <a:solidFill>
                <a:schemeClr val="tx2"/>
              </a:solidFill>
              <a:latin typeface="Calibri" panose="020F0502020204030204" pitchFamily="34" charset="0"/>
            </a:endParaRPr>
          </a:p>
        </p:txBody>
      </p:sp>
      <p:sp>
        <p:nvSpPr>
          <p:cNvPr id="4" name="TextBox 3">
            <a:extLst>
              <a:ext uri="{FF2B5EF4-FFF2-40B4-BE49-F238E27FC236}">
                <a16:creationId xmlns:a16="http://schemas.microsoft.com/office/drawing/2014/main" id="{96B35D68-DDEC-DA4B-6BA6-36BEC583C076}"/>
              </a:ext>
            </a:extLst>
          </p:cNvPr>
          <p:cNvSpPr txBox="1"/>
          <p:nvPr/>
        </p:nvSpPr>
        <p:spPr>
          <a:xfrm>
            <a:off x="7949184" y="1713821"/>
            <a:ext cx="3779520" cy="4278094"/>
          </a:xfrm>
          <a:prstGeom prst="rect">
            <a:avLst/>
          </a:prstGeom>
          <a:noFill/>
          <a:ln>
            <a:solidFill>
              <a:schemeClr val="bg2"/>
            </a:solidFill>
          </a:ln>
        </p:spPr>
        <p:txBody>
          <a:bodyPr wrap="square" rtlCol="0">
            <a:noAutofit/>
          </a:bodyPr>
          <a:lstStyle/>
          <a:p>
            <a:pPr rtl="0"/>
            <a:r>
              <a:rPr lang="zh-Hans" sz="1600" b="0" i="0" u="sng" strike="noStrike">
                <a:highlight>
                  <a:srgbClr val="000000">
                    <a:alpha val="0"/>
                  </a:srgbClr>
                </a:highlight>
                <a:latin typeface="Simsun"/>
                <a:ea typeface="Simsun"/>
              </a:rPr>
              <a:t>重大装修的具体定义包括</a:t>
            </a:r>
            <a:r>
              <a:rPr lang="zh-Hans" sz="1600" b="0" i="0" u="none" strike="noStrike">
                <a:highlight>
                  <a:srgbClr val="000000">
                    <a:alpha val="0"/>
                  </a:srgbClr>
                </a:highlight>
                <a:latin typeface="Simsun"/>
                <a:ea typeface="Simsun"/>
              </a:rPr>
              <a:t>：</a:t>
            </a:r>
          </a:p>
          <a:p>
            <a:pPr marL="285750" indent="-285750" rtl="0">
              <a:buFont typeface="Arial" panose="020B0604020202020204" pitchFamily="34" charset="0"/>
              <a:buChar char="•"/>
            </a:pPr>
            <a:r>
              <a:rPr lang="zh-Hans" sz="1600" b="0" i="0" u="none" strike="noStrike">
                <a:highlight>
                  <a:srgbClr val="000000">
                    <a:alpha val="0"/>
                  </a:srgbClr>
                </a:highlight>
                <a:latin typeface="Simsun"/>
                <a:ea typeface="Simsun"/>
              </a:rPr>
              <a:t>对于 1-2 户家庭住宅、联排别墅：</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如果建筑面积超过 1,000 平方英尺，则翻新 50%</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增加 1,000 平方英尺，或将现有建筑翻倍</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1,000 平方英尺用途变更</a:t>
            </a:r>
          </a:p>
          <a:p>
            <a:pPr marL="285750" indent="-285750" rtl="0">
              <a:buFont typeface="Arial" panose="020B0604020202020204" pitchFamily="34" charset="0"/>
              <a:buChar char="•"/>
            </a:pPr>
            <a:r>
              <a:rPr lang="zh-Hans" sz="1600" b="0" i="0" u="none" strike="noStrike">
                <a:highlight>
                  <a:srgbClr val="000000">
                    <a:alpha val="0"/>
                  </a:srgbClr>
                </a:highlight>
                <a:latin typeface="Simsun"/>
                <a:ea typeface="Simsun"/>
              </a:rPr>
              <a:t>对于所有其他建筑类型：</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如果面积超过 20,000 平方英尺，则翻新 50% 的建筑面积</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增加 20,000 平方英尺或现有建筑面积增加一倍</a:t>
            </a:r>
          </a:p>
          <a:p>
            <a:pPr marL="742950" lvl="1" indent="-285750" rtl="0">
              <a:buFont typeface="Arial" panose="020B0604020202020204" pitchFamily="34" charset="0"/>
              <a:buChar char="•"/>
            </a:pPr>
            <a:r>
              <a:rPr lang="zh-Hans" sz="1600" b="0" i="0" u="none" strike="noStrike">
                <a:highlight>
                  <a:srgbClr val="000000">
                    <a:alpha val="0"/>
                  </a:srgbClr>
                </a:highlight>
                <a:latin typeface="Simsun"/>
                <a:ea typeface="Simsun"/>
              </a:rPr>
              <a:t>改变 20,000 平方英尺或整栋建筑的用途</a:t>
            </a:r>
          </a:p>
          <a:p>
            <a:pPr marL="742950" lvl="1" indent="-285750">
              <a:buFont typeface="Arial" panose="020B0604020202020204" pitchFamily="34" charset="0"/>
              <a:buChar char="•"/>
            </a:pPr>
            <a:endParaRPr lang="en-US" sz="1600"/>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8</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44974" y="518753"/>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25973600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无化石燃料示范计划有建议或“示范”条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805433"/>
            <a:ext cx="10744203" cy="4344435"/>
          </a:xfrm>
        </p:spPr>
        <p:txBody>
          <a:bodyPr>
            <a:noAutofit/>
          </a:bodyPr>
          <a:lstStyle/>
          <a:p>
            <a:pPr marL="0" indent="0" rtl="0">
              <a:spcBef>
                <a:spcPts val="600"/>
              </a:spcBef>
              <a:buNone/>
            </a:pPr>
            <a:r>
              <a:rPr lang="zh-Hans" sz="2400" b="0" i="0" u="sng" strike="noStrike" dirty="0">
                <a:solidFill>
                  <a:srgbClr val="000000"/>
                </a:solidFill>
                <a:highlight>
                  <a:srgbClr val="000000">
                    <a:alpha val="0"/>
                  </a:srgbClr>
                </a:highlight>
                <a:latin typeface="Simsun"/>
                <a:ea typeface="Simsun"/>
              </a:rPr>
              <a:t>示范条例涵盖哪些内容</a:t>
            </a:r>
            <a:br>
              <a:rPr lang="zh-Hans" sz="2400" b="0" i="0" u="sng" strike="noStrike" dirty="0">
                <a:solidFill>
                  <a:srgbClr val="000000"/>
                </a:solidFill>
                <a:highlight>
                  <a:srgbClr val="000000">
                    <a:alpha val="0"/>
                  </a:srgbClr>
                </a:highlight>
                <a:latin typeface="Simsun"/>
                <a:ea typeface="Simsun"/>
              </a:rPr>
            </a:br>
            <a:endParaRPr lang="en-US" sz="2400" u="sng" dirty="0">
              <a:solidFill>
                <a:schemeClr val="tx2"/>
              </a:solidFill>
              <a:latin typeface="Calibri" panose="020F0502020204030204" pitchFamily="34" charset="0"/>
            </a:endParaRPr>
          </a:p>
          <a:p>
            <a:pPr rtl="0">
              <a:spcBef>
                <a:spcPts val="600"/>
              </a:spcBef>
            </a:pPr>
            <a:r>
              <a:rPr lang="zh-Hans" sz="2400" b="0" i="0" u="none" strike="noStrike" dirty="0">
                <a:solidFill>
                  <a:srgbClr val="000000"/>
                </a:solidFill>
                <a:highlight>
                  <a:srgbClr val="000000">
                    <a:alpha val="0"/>
                  </a:srgbClr>
                </a:highlight>
                <a:latin typeface="Simsun"/>
                <a:ea typeface="Simsun"/>
              </a:rPr>
              <a:t>建筑物在其运营中不能使用煤炭、石油、天然气或其他化石燃料</a:t>
            </a:r>
          </a:p>
          <a:p>
            <a:pPr rtl="0">
              <a:spcBef>
                <a:spcPts val="600"/>
              </a:spcBef>
            </a:pPr>
            <a:r>
              <a:rPr lang="zh-Hans" sz="2400" b="0" i="0" u="none" strike="noStrike" dirty="0">
                <a:solidFill>
                  <a:srgbClr val="000000"/>
                </a:solidFill>
                <a:highlight>
                  <a:srgbClr val="000000">
                    <a:alpha val="0"/>
                  </a:srgbClr>
                </a:highlight>
                <a:latin typeface="Simsun"/>
                <a:ea typeface="Simsun"/>
              </a:rPr>
              <a:t>这通常被理解为包括供暖、热水系统、照明、烹饪和衣物干燥，以及潜在的商业过程负载（例如餐馆、干洗店）</a:t>
            </a:r>
          </a:p>
          <a:p>
            <a:pPr lvl="1" rtl="0">
              <a:spcBef>
                <a:spcPts val="600"/>
              </a:spcBef>
            </a:pPr>
            <a:r>
              <a:rPr lang="zh-Hans" b="1" i="1" u="none" strike="noStrike" dirty="0">
                <a:solidFill>
                  <a:srgbClr val="000000"/>
                </a:solidFill>
                <a:highlight>
                  <a:srgbClr val="000000">
                    <a:alpha val="0"/>
                  </a:srgbClr>
                </a:highlight>
                <a:latin typeface="Simsun"/>
                <a:ea typeface="Simsun"/>
              </a:rPr>
              <a:t>城市或城镇可以在有正当理由的情况下提出有限豁免或示范条例的变更</a:t>
            </a:r>
          </a:p>
          <a:p>
            <a:pPr rtl="0">
              <a:spcBef>
                <a:spcPts val="1200"/>
              </a:spcBef>
            </a:pPr>
            <a:r>
              <a:rPr lang="zh-Hans" sz="2400" b="0" i="0" u="none" strike="noStrike" dirty="0">
                <a:solidFill>
                  <a:srgbClr val="000000"/>
                </a:solidFill>
                <a:highlight>
                  <a:srgbClr val="000000">
                    <a:alpha val="0"/>
                  </a:srgbClr>
                </a:highlight>
                <a:latin typeface="Simsun"/>
                <a:ea typeface="Simsun"/>
              </a:rPr>
              <a:t>该示范条例基于新的“专业”建筑规范（Cambridge 已采用），基本上消除了允许使用化石燃料的选项，但有两点澄清：</a:t>
            </a:r>
          </a:p>
          <a:p>
            <a:pPr lvl="1" rtl="0">
              <a:spcBef>
                <a:spcPts val="1200"/>
              </a:spcBef>
            </a:pPr>
            <a:r>
              <a:rPr lang="zh-Hans" b="0" i="0" u="none" strike="noStrike" dirty="0">
                <a:solidFill>
                  <a:srgbClr val="000000"/>
                </a:solidFill>
                <a:highlight>
                  <a:srgbClr val="000000">
                    <a:alpha val="0"/>
                  </a:srgbClr>
                </a:highlight>
                <a:latin typeface="Simsun"/>
                <a:ea typeface="Simsun"/>
              </a:rPr>
              <a:t>2027 年之前允许使用天然气或丙烷为多户家庭提供热水</a:t>
            </a:r>
          </a:p>
          <a:p>
            <a:pPr lvl="1" rtl="0">
              <a:spcBef>
                <a:spcPts val="1200"/>
              </a:spcBef>
            </a:pPr>
            <a:r>
              <a:rPr lang="zh-Hans" b="0" i="0" u="none" strike="noStrike" dirty="0">
                <a:solidFill>
                  <a:srgbClr val="000000"/>
                </a:solidFill>
                <a:highlight>
                  <a:srgbClr val="000000">
                    <a:alpha val="0"/>
                  </a:srgbClr>
                </a:highlight>
                <a:latin typeface="Simsun"/>
                <a:ea typeface="Simsun"/>
              </a:rPr>
              <a:t>它明确指出，重大改造不能安装</a:t>
            </a:r>
            <a:r>
              <a:rPr lang="zh-Hans" b="0" i="0" u="sng" strike="noStrike" dirty="0">
                <a:solidFill>
                  <a:srgbClr val="000000"/>
                </a:solidFill>
                <a:highlight>
                  <a:srgbClr val="000000">
                    <a:alpha val="0"/>
                  </a:srgbClr>
                </a:highlight>
                <a:latin typeface="Simsun"/>
                <a:ea typeface="Simsun"/>
              </a:rPr>
              <a:t>新的</a:t>
            </a:r>
            <a:r>
              <a:rPr lang="zh-Hans" b="0" i="0" u="none" strike="noStrike" dirty="0">
                <a:solidFill>
                  <a:srgbClr val="000000"/>
                </a:solidFill>
                <a:highlight>
                  <a:srgbClr val="000000">
                    <a:alpha val="0"/>
                  </a:srgbClr>
                </a:highlight>
                <a:latin typeface="Simsun"/>
                <a:ea typeface="Simsun"/>
              </a:rPr>
              <a:t>化石燃料设备用于供暖、热水、烹饪等。</a:t>
            </a:r>
          </a:p>
          <a:p>
            <a:pPr marL="0" indent="0">
              <a:spcBef>
                <a:spcPts val="600"/>
              </a:spcBef>
              <a:buNone/>
            </a:pPr>
            <a:endParaRPr lang="en-US" sz="2400" u="sng" dirty="0">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19</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3898" y="464379"/>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18416891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303B9770-7DE8-9A95-C80B-6C4BC1773EAF}"/>
              </a:ext>
              <a:ext uri="{C183D7F6-B498-43B3-948B-1728B52AA6E4}">
                <adec:decorative xmlns:adec="http://schemas.microsoft.com/office/drawing/2017/decorative" val="1"/>
              </a:ext>
            </a:extLst>
          </p:cNvPr>
          <p:cNvSpPr/>
          <p:nvPr/>
        </p:nvSpPr>
        <p:spPr>
          <a:xfrm>
            <a:off x="725188" y="4966766"/>
            <a:ext cx="3461312" cy="131810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Graphic 11">
            <a:extLst>
              <a:ext uri="{FF2B5EF4-FFF2-40B4-BE49-F238E27FC236}">
                <a16:creationId xmlns:a16="http://schemas.microsoft.com/office/drawing/2014/main" id="{5FD81FA8-56D7-AB80-E26E-A8E60A9C1A5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6889" y="2831735"/>
            <a:ext cx="1008257" cy="1017118"/>
          </a:xfrm>
          <a:prstGeom prst="rect">
            <a:avLst/>
          </a:prstGeom>
        </p:spPr>
      </p:pic>
      <p:sp>
        <p:nvSpPr>
          <p:cNvPr id="4" name="Title 1">
            <a:extLst>
              <a:ext uri="{FF2B5EF4-FFF2-40B4-BE49-F238E27FC236}">
                <a16:creationId xmlns:a16="http://schemas.microsoft.com/office/drawing/2014/main" id="{9DA8C127-7518-02FF-2670-E6AF73DACDE2}"/>
              </a:ext>
            </a:extLst>
          </p:cNvPr>
          <p:cNvSpPr txBox="1">
            <a:spLocks noGrp="1"/>
          </p:cNvSpPr>
          <p:nvPr>
            <p:ph type="title" idx="4294967295"/>
          </p:nvPr>
        </p:nvSpPr>
        <p:spPr>
          <a:xfrm>
            <a:off x="652509" y="664739"/>
            <a:ext cx="10515600" cy="1049082"/>
          </a:xfrm>
          <a:prstGeom prst="rect">
            <a:avLst/>
          </a:prstGeom>
          <a:no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zh-Hans" sz="4400" b="1" i="0" u="none" strike="noStrike" kern="1200" cap="none" spc="0" normalizeH="0" baseline="0" noProof="0">
                <a:solidFill>
                  <a:srgbClr val="1269A2"/>
                </a:solidFill>
                <a:highlight>
                  <a:srgbClr val="000000">
                    <a:alpha val="0"/>
                  </a:srgbClr>
                </a:highlight>
                <a:uLnTx/>
                <a:uFillTx/>
                <a:latin typeface="Simsun"/>
                <a:ea typeface="Simsun"/>
                <a:cs typeface="+mj-cs"/>
              </a:rPr>
              <a:t>欢迎</a:t>
            </a:r>
          </a:p>
        </p:txBody>
      </p:sp>
      <p:pic>
        <p:nvPicPr>
          <p:cNvPr id="6" name="Graphic 5">
            <a:extLst>
              <a:ext uri="{FF2B5EF4-FFF2-40B4-BE49-F238E27FC236}">
                <a16:creationId xmlns:a16="http://schemas.microsoft.com/office/drawing/2014/main" id="{F33ADE03-8CEF-F08A-63EC-1BFD1EDFC87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0386212" y="270434"/>
            <a:ext cx="364577" cy="364577"/>
          </a:xfrm>
          <a:prstGeom prst="rect">
            <a:avLst/>
          </a:prstGeom>
        </p:spPr>
      </p:pic>
      <p:pic>
        <p:nvPicPr>
          <p:cNvPr id="15" name="Graphic 14">
            <a:extLst>
              <a:ext uri="{FF2B5EF4-FFF2-40B4-BE49-F238E27FC236}">
                <a16:creationId xmlns:a16="http://schemas.microsoft.com/office/drawing/2014/main" id="{10684B81-7745-328E-9402-37C56F919900}"/>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1350320" y="293373"/>
            <a:ext cx="337749" cy="337749"/>
          </a:xfrm>
          <a:prstGeom prst="rect">
            <a:avLst/>
          </a:prstGeom>
        </p:spPr>
      </p:pic>
      <p:pic>
        <p:nvPicPr>
          <p:cNvPr id="17" name="Graphic 16">
            <a:extLst>
              <a:ext uri="{FF2B5EF4-FFF2-40B4-BE49-F238E27FC236}">
                <a16:creationId xmlns:a16="http://schemas.microsoft.com/office/drawing/2014/main" id="{BB9A0BA3-9E22-9B8D-B7B3-5543CAD77BB2}"/>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9493778" y="293385"/>
            <a:ext cx="337725" cy="337725"/>
          </a:xfrm>
          <a:prstGeom prst="rect">
            <a:avLst/>
          </a:prstGeom>
        </p:spPr>
      </p:pic>
      <p:pic>
        <p:nvPicPr>
          <p:cNvPr id="18" name="Graphic 17">
            <a:extLst>
              <a:ext uri="{FF2B5EF4-FFF2-40B4-BE49-F238E27FC236}">
                <a16:creationId xmlns:a16="http://schemas.microsoft.com/office/drawing/2014/main" id="{FE7CA01B-19B7-674B-EC88-1E16C867FC07}"/>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827714" y="326571"/>
            <a:ext cx="259356" cy="259356"/>
          </a:xfrm>
          <a:prstGeom prst="rect">
            <a:avLst/>
          </a:prstGeom>
        </p:spPr>
      </p:pic>
      <p:pic>
        <p:nvPicPr>
          <p:cNvPr id="23" name="Graphic 22">
            <a:extLst>
              <a:ext uri="{FF2B5EF4-FFF2-40B4-BE49-F238E27FC236}">
                <a16:creationId xmlns:a16="http://schemas.microsoft.com/office/drawing/2014/main" id="{1F70C614-6CF8-9973-9B43-7D2DDD66FCAA}"/>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004490" y="317045"/>
            <a:ext cx="259357" cy="259357"/>
          </a:xfrm>
          <a:prstGeom prst="rect">
            <a:avLst/>
          </a:prstGeom>
        </p:spPr>
      </p:pic>
      <p:pic>
        <p:nvPicPr>
          <p:cNvPr id="24" name="Graphic 23">
            <a:extLst>
              <a:ext uri="{FF2B5EF4-FFF2-40B4-BE49-F238E27FC236}">
                <a16:creationId xmlns:a16="http://schemas.microsoft.com/office/drawing/2014/main" id="{CF70A1A3-2244-07EA-D65C-91063BE7DEE2}"/>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891464" y="326570"/>
            <a:ext cx="259356" cy="259356"/>
          </a:xfrm>
          <a:prstGeom prst="rect">
            <a:avLst/>
          </a:prstGeom>
        </p:spPr>
      </p:pic>
      <p:sp>
        <p:nvSpPr>
          <p:cNvPr id="2" name="Content Placeholder 2">
            <a:extLst>
              <a:ext uri="{FF2B5EF4-FFF2-40B4-BE49-F238E27FC236}">
                <a16:creationId xmlns:a16="http://schemas.microsoft.com/office/drawing/2014/main" id="{5B1EE775-0DD9-9523-89D7-58F9EA9BC236}"/>
              </a:ext>
            </a:extLst>
          </p:cNvPr>
          <p:cNvSpPr>
            <a:spLocks noGrp="1"/>
          </p:cNvSpPr>
          <p:nvPr>
            <p:ph idx="1"/>
          </p:nvPr>
        </p:nvSpPr>
        <p:spPr>
          <a:xfrm>
            <a:off x="725188" y="1713821"/>
            <a:ext cx="10515836" cy="3053251"/>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Susanne Rasmussen，环境和交通规划总监</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Nikhil Nadkarni，能源项目规划师</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Jennifer Ballew，可持续发展项目规划师</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Brad Pillen，能源参与副规划师</a:t>
            </a:r>
          </a:p>
        </p:txBody>
      </p:sp>
      <p:sp>
        <p:nvSpPr>
          <p:cNvPr id="7" name="Rectangle 6">
            <a:extLst>
              <a:ext uri="{FF2B5EF4-FFF2-40B4-BE49-F238E27FC236}">
                <a16:creationId xmlns:a16="http://schemas.microsoft.com/office/drawing/2014/main" id="{79D560B9-9B58-7233-67C2-65CD20C91461}"/>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07CE0FFF-B88F-4BF6-A69A-2F7EF781B2CD}"/>
              </a:ext>
              <a:ext uri="{C183D7F6-B498-43B3-948B-1728B52AA6E4}">
                <adec:decorative xmlns:adec="http://schemas.microsoft.com/office/drawing/2017/decorative" val="0"/>
              </a:ext>
            </a:extLst>
          </p:cNvPr>
          <p:cNvSpPr txBox="1"/>
          <p:nvPr/>
        </p:nvSpPr>
        <p:spPr>
          <a:xfrm>
            <a:off x="1081341" y="5070384"/>
            <a:ext cx="2749005" cy="1077218"/>
          </a:xfrm>
          <a:prstGeom prst="rect">
            <a:avLst/>
          </a:prstGeom>
          <a:noFill/>
        </p:spPr>
        <p:txBody>
          <a:bodyPr wrap="square">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3200" b="0" u="none" strike="noStrike" kern="1200" cap="none" spc="0" normalizeH="0" baseline="0" noProof="0" dirty="0">
                <a:solidFill>
                  <a:srgbClr val="FFFFFF"/>
                </a:solidFill>
                <a:highlight>
                  <a:srgbClr val="000000">
                    <a:alpha val="0"/>
                  </a:srgbClr>
                </a:highlight>
                <a:uLnTx/>
                <a:uFillTx/>
                <a:latin typeface="Simsun"/>
                <a:ea typeface="Simsun"/>
              </a:rPr>
              <a:t>本次会议正在录制中</a:t>
            </a:r>
          </a:p>
        </p:txBody>
      </p:sp>
      <p:sp>
        <p:nvSpPr>
          <p:cNvPr id="10" name="Footer Placeholder 2">
            <a:extLst>
              <a:ext uri="{FF2B5EF4-FFF2-40B4-BE49-F238E27FC236}">
                <a16:creationId xmlns:a16="http://schemas.microsoft.com/office/drawing/2014/main" id="{A5057488-8D75-303E-AA09-4CB3EA3C2D6F}"/>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11" name="Slide Number Placeholder 3">
            <a:extLst>
              <a:ext uri="{FF2B5EF4-FFF2-40B4-BE49-F238E27FC236}">
                <a16:creationId xmlns:a16="http://schemas.microsoft.com/office/drawing/2014/main" id="{CEA035ED-780D-D8A1-57EC-6AD5BA6B1815}"/>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96327154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51C2173-2F81-6980-F1ED-A887E798F795}"/>
              </a:ext>
            </a:extLst>
          </p:cNvPr>
          <p:cNvSpPr txBox="1">
            <a:spLocks noGrp="1"/>
          </p:cNvSpPr>
          <p:nvPr>
            <p:ph type="title" idx="4294967295"/>
          </p:nvPr>
        </p:nvSpPr>
        <p:spPr>
          <a:xfrm>
            <a:off x="652509" y="664739"/>
            <a:ext cx="10515600" cy="1049082"/>
          </a:xfrm>
          <a:prstGeom prst="rect">
            <a:avLst/>
          </a:prstGeom>
          <a:no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zh-Hans" sz="3200" b="1" i="0" u="none" strike="noStrike" kern="1200" cap="none" spc="0" normalizeH="0" baseline="0" noProof="0">
                <a:solidFill>
                  <a:srgbClr val="1269A2"/>
                </a:solidFill>
                <a:highlight>
                  <a:srgbClr val="000000">
                    <a:alpha val="0"/>
                  </a:srgbClr>
                </a:highlight>
                <a:uLnTx/>
                <a:uFillTx/>
                <a:latin typeface="Simsun"/>
                <a:ea typeface="Simsun"/>
                <a:cs typeface="+mj-cs"/>
              </a:rPr>
              <a:t>国家将对结果进行评估</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1200"/>
              </a:spcBef>
              <a:buNone/>
            </a:pPr>
            <a:r>
              <a:rPr lang="zh-Hans" sz="2800" b="0" i="0" u="none" strike="noStrike">
                <a:solidFill>
                  <a:srgbClr val="000000"/>
                </a:solidFill>
                <a:highlight>
                  <a:srgbClr val="000000">
                    <a:alpha val="0"/>
                  </a:srgbClr>
                </a:highlight>
                <a:latin typeface="Simsun"/>
                <a:ea typeface="Simsun"/>
              </a:rPr>
              <a:t>城镇必须向 DOER 提供建筑许可记录，包括任何能源评分报告。</a:t>
            </a:r>
          </a:p>
          <a:p>
            <a:pPr marL="0" indent="0">
              <a:spcBef>
                <a:spcPts val="1200"/>
              </a:spcBef>
              <a:buNone/>
            </a:pPr>
            <a:endParaRPr lang="en-US">
              <a:solidFill>
                <a:schemeClr val="tx2"/>
              </a:solidFill>
              <a:latin typeface="Calibri" panose="020F0502020204030204" pitchFamily="34" charset="0"/>
            </a:endParaRPr>
          </a:p>
          <a:p>
            <a:pPr marL="0" indent="0" rtl="0">
              <a:spcBef>
                <a:spcPts val="1200"/>
              </a:spcBef>
              <a:buNone/>
            </a:pPr>
            <a:r>
              <a:rPr lang="zh-Hans" sz="2800" b="0" i="0" u="none" strike="noStrike">
                <a:solidFill>
                  <a:srgbClr val="000000"/>
                </a:solidFill>
                <a:highlight>
                  <a:srgbClr val="000000">
                    <a:alpha val="0"/>
                  </a:srgbClr>
                </a:highlight>
                <a:latin typeface="Simsun"/>
                <a:ea typeface="Simsun"/>
              </a:rPr>
              <a:t>DOER 将获取公用事业公司的能源使用情况并报告减排情况。</a:t>
            </a:r>
          </a:p>
          <a:p>
            <a:pPr>
              <a:spcBef>
                <a:spcPts val="600"/>
              </a:spcBef>
            </a:pPr>
            <a:endParaRPr lang="en-US">
              <a:solidFill>
                <a:schemeClr val="tx2"/>
              </a:solidFill>
              <a:latin typeface="Calibri" panose="020F0502020204030204" pitchFamily="34" charset="0"/>
            </a:endParaRPr>
          </a:p>
          <a:p>
            <a:pPr marL="0" indent="0">
              <a:spcBef>
                <a:spcPts val="600"/>
              </a:spcBef>
              <a:buNone/>
            </a:pPr>
            <a:endParaRPr lang="en-US" u="sng">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0</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81398164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议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600"/>
              </a:spcBef>
              <a:buNone/>
            </a:pPr>
            <a:r>
              <a:rPr lang="zh-Hans" sz="2800" b="0" i="0" u="none" strike="noStrike">
                <a:solidFill>
                  <a:srgbClr val="BFBFBF"/>
                </a:solidFill>
                <a:highlight>
                  <a:srgbClr val="000000">
                    <a:alpha val="0"/>
                  </a:srgbClr>
                </a:highlight>
                <a:latin typeface="Simsun"/>
                <a:ea typeface="Simsun"/>
              </a:rPr>
              <a:t>背景：</a:t>
            </a:r>
          </a:p>
          <a:p>
            <a:pPr lvl="1" rtl="0">
              <a:spcBef>
                <a:spcPts val="600"/>
              </a:spcBef>
            </a:pPr>
            <a:r>
              <a:rPr lang="zh-Hans" sz="2400" b="0" i="0" u="none" strike="noStrike">
                <a:solidFill>
                  <a:srgbClr val="BFBFBF"/>
                </a:solidFill>
                <a:highlight>
                  <a:srgbClr val="000000">
                    <a:alpha val="0"/>
                  </a:srgbClr>
                </a:highlight>
                <a:latin typeface="Simsun"/>
                <a:ea typeface="Simsun"/>
              </a:rPr>
              <a:t>Cambridge 应对气候变化的举措</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新规定：</a:t>
            </a:r>
          </a:p>
          <a:p>
            <a:pPr lvl="1" rtl="0">
              <a:spcBef>
                <a:spcPts val="600"/>
              </a:spcBef>
            </a:pPr>
            <a:r>
              <a:rPr lang="zh-Hans" sz="2400" b="0" i="0" u="none" strike="noStrike">
                <a:solidFill>
                  <a:srgbClr val="BFBFBF"/>
                </a:solidFill>
                <a:highlight>
                  <a:srgbClr val="000000">
                    <a:alpha val="0"/>
                  </a:srgbClr>
                </a:highlight>
                <a:latin typeface="Simsun"/>
                <a:ea typeface="Simsun"/>
              </a:rPr>
              <a:t>Massachusetts 州无化石燃料示范计划</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提议的要求：</a:t>
            </a:r>
          </a:p>
          <a:p>
            <a:pPr lvl="1" rtl="0">
              <a:spcBef>
                <a:spcPts val="600"/>
              </a:spcBef>
            </a:pPr>
            <a:r>
              <a:rPr lang="zh-Hans" sz="2400" b="0" i="0" u="none" strike="noStrike">
                <a:solidFill>
                  <a:srgbClr val="BFBFBF"/>
                </a:solidFill>
                <a:highlight>
                  <a:srgbClr val="000000">
                    <a:alpha val="0"/>
                  </a:srgbClr>
                </a:highlight>
                <a:latin typeface="Simsun"/>
                <a:ea typeface="Simsun"/>
              </a:rPr>
              <a:t>消除在新建筑和重大翻修中使用化石燃料</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采用监管的时间表和后续步骤</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问题和答案</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1</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4358421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优先社区的时间表</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1200"/>
              </a:spcBef>
              <a:buNone/>
            </a:pPr>
            <a:r>
              <a:rPr lang="zh-Hans" sz="2800" b="0" i="0" u="none" strike="noStrike">
                <a:solidFill>
                  <a:srgbClr val="000000"/>
                </a:solidFill>
                <a:highlight>
                  <a:srgbClr val="000000">
                    <a:alpha val="0"/>
                  </a:srgbClr>
                </a:highlight>
                <a:latin typeface="Simsun"/>
                <a:ea typeface="Simsun"/>
              </a:rPr>
              <a:t>Cambridge 必须在</a:t>
            </a:r>
            <a:r>
              <a:rPr lang="zh-Hans" sz="2800" b="1" i="0" u="none" strike="noStrike">
                <a:solidFill>
                  <a:srgbClr val="000000"/>
                </a:solidFill>
                <a:highlight>
                  <a:srgbClr val="000000">
                    <a:alpha val="0"/>
                  </a:srgbClr>
                </a:highlight>
                <a:latin typeface="Simsun"/>
                <a:ea typeface="Simsun"/>
              </a:rPr>
              <a:t>2023 年 9 月 1 日</a:t>
            </a:r>
            <a:r>
              <a:rPr lang="zh-Hans" sz="2800" b="0" i="0" u="none" strike="noStrike">
                <a:solidFill>
                  <a:srgbClr val="000000"/>
                </a:solidFill>
                <a:highlight>
                  <a:srgbClr val="000000">
                    <a:alpha val="0"/>
                  </a:srgbClr>
                </a:highlight>
                <a:latin typeface="Simsun"/>
                <a:ea typeface="Simsun"/>
              </a:rPr>
              <a:t>之前向 DOER 提交最终申请（包括拟议条例和生效日期）。</a:t>
            </a:r>
          </a:p>
          <a:p>
            <a:pPr lvl="1" rtl="0">
              <a:spcBef>
                <a:spcPts val="1200"/>
              </a:spcBef>
            </a:pPr>
            <a:r>
              <a:rPr lang="zh-Hans" sz="2400" b="0" i="0" u="none" strike="noStrike">
                <a:solidFill>
                  <a:srgbClr val="000000"/>
                </a:solidFill>
                <a:highlight>
                  <a:srgbClr val="000000">
                    <a:alpha val="0"/>
                  </a:srgbClr>
                </a:highlight>
                <a:latin typeface="Simsun"/>
                <a:ea typeface="Simsun"/>
              </a:rPr>
              <a:t>不这样做将导致从计划中被淘汰</a:t>
            </a:r>
          </a:p>
          <a:p>
            <a:pPr lvl="1" rtl="0">
              <a:spcBef>
                <a:spcPts val="1200"/>
              </a:spcBef>
            </a:pPr>
            <a:r>
              <a:rPr lang="zh-Hans" sz="2400" b="0" i="0" u="none" strike="noStrike">
                <a:solidFill>
                  <a:srgbClr val="000000"/>
                </a:solidFill>
                <a:highlight>
                  <a:srgbClr val="000000">
                    <a:alpha val="0"/>
                  </a:srgbClr>
                </a:highlight>
                <a:latin typeface="Simsun"/>
                <a:ea typeface="Simsun"/>
              </a:rPr>
              <a:t>各市政府可以提前向 DOER 提交申请以获得反馈</a:t>
            </a:r>
          </a:p>
          <a:p>
            <a:pPr marL="0" indent="0">
              <a:spcBef>
                <a:spcPts val="600"/>
              </a:spcBef>
              <a:buNone/>
            </a:pPr>
            <a:endParaRPr lang="en-US" u="sng">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2</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75584985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723898" y="811057"/>
            <a:ext cx="10515600" cy="1049082"/>
          </a:xfrm>
        </p:spPr>
        <p:txBody>
          <a:bodyPr>
            <a:noAutofit/>
          </a:bodyPr>
          <a:lstStyle/>
          <a:p>
            <a:pPr rtl="0"/>
            <a:r>
              <a:rPr lang="zh-Hans" sz="3600" b="1" i="0" u="none" strike="noStrike">
                <a:solidFill>
                  <a:srgbClr val="1269A2"/>
                </a:solidFill>
                <a:highlight>
                  <a:srgbClr val="000000">
                    <a:alpha val="0"/>
                  </a:srgbClr>
                </a:highlight>
                <a:latin typeface="Simsun"/>
                <a:ea typeface="Simsun"/>
              </a:rPr>
              <a:t>我们正在与 Cambridge 居民和业主分享有关该计划的信息</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897709"/>
            <a:ext cx="10744203" cy="4252159"/>
          </a:xfrm>
        </p:spPr>
        <p:txBody>
          <a:bodyPr>
            <a:noAutofit/>
          </a:bodyPr>
          <a:lstStyle/>
          <a:p>
            <a:pPr marL="228600" lvl="1" rtl="0">
              <a:spcBef>
                <a:spcPts val="1200"/>
              </a:spcBef>
            </a:pPr>
            <a:r>
              <a:rPr lang="zh-Hans" sz="2400" b="0" i="0" u="none" strike="noStrike">
                <a:solidFill>
                  <a:srgbClr val="000000"/>
                </a:solidFill>
                <a:highlight>
                  <a:srgbClr val="000000">
                    <a:alpha val="0"/>
                  </a:srgbClr>
                </a:highlight>
                <a:latin typeface="Simsun"/>
                <a:ea typeface="Simsun"/>
              </a:rPr>
              <a:t>本次网络研讨会和 7 月 24</a:t>
            </a:r>
            <a:r>
              <a:rPr lang="zh-Hans" sz="2400" b="0" i="0" u="none" strike="noStrike" baseline="30000">
                <a:solidFill>
                  <a:srgbClr val="000000"/>
                </a:solidFill>
                <a:highlight>
                  <a:srgbClr val="000000">
                    <a:alpha val="0"/>
                  </a:srgbClr>
                </a:highlight>
                <a:latin typeface="Simsun"/>
                <a:ea typeface="Simsun"/>
              </a:rPr>
              <a:t>日</a:t>
            </a:r>
            <a:r>
              <a:rPr lang="zh-Hans" sz="2400" b="0" i="0" u="none" strike="noStrike">
                <a:solidFill>
                  <a:srgbClr val="000000"/>
                </a:solidFill>
                <a:highlight>
                  <a:srgbClr val="000000">
                    <a:alpha val="0"/>
                  </a:srgbClr>
                </a:highlight>
                <a:latin typeface="Simsun"/>
                <a:ea typeface="Simsun"/>
              </a:rPr>
              <a:t>的网络研讨会上提供的信息</a:t>
            </a:r>
            <a:endParaRPr lang="en-US">
              <a:solidFill>
                <a:schemeClr val="tx2"/>
              </a:solidFill>
              <a:latin typeface="Calibri" panose="020F0502020204030204" pitchFamily="34" charset="0"/>
            </a:endParaRPr>
          </a:p>
          <a:p>
            <a:pPr marL="228600" lvl="1" rtl="0">
              <a:spcBef>
                <a:spcPts val="1200"/>
              </a:spcBef>
            </a:pPr>
            <a:r>
              <a:rPr lang="zh-Hans" sz="2400" b="0" i="0" u="none" strike="noStrike">
                <a:solidFill>
                  <a:srgbClr val="000000"/>
                </a:solidFill>
                <a:highlight>
                  <a:srgbClr val="000000">
                    <a:alpha val="0"/>
                  </a:srgbClr>
                </a:highlight>
                <a:latin typeface="Simsun"/>
                <a:ea typeface="Simsun"/>
              </a:rPr>
              <a:t>参加本周的专业规范网络研讨会，与建筑专业人士互动</a:t>
            </a:r>
          </a:p>
          <a:p>
            <a:pPr marL="685800" lvl="2" rtl="0">
              <a:spcBef>
                <a:spcPts val="1200"/>
              </a:spcBef>
            </a:pPr>
            <a:r>
              <a:rPr lang="zh-Hans" sz="2000" b="0" i="0" u="none" strike="noStrike">
                <a:solidFill>
                  <a:srgbClr val="000000"/>
                </a:solidFill>
                <a:highlight>
                  <a:srgbClr val="000000">
                    <a:alpha val="0"/>
                  </a:srgbClr>
                </a:highlight>
                <a:latin typeface="Simsun"/>
                <a:ea typeface="Simsun"/>
              </a:rPr>
              <a:t>7 月 11 日（星期二），下午 4 点：商业专业代码</a:t>
            </a:r>
          </a:p>
          <a:p>
            <a:pPr marL="685800" lvl="2" rtl="0">
              <a:spcBef>
                <a:spcPts val="1200"/>
              </a:spcBef>
            </a:pPr>
            <a:r>
              <a:rPr lang="zh-Hans" sz="2000" b="0" i="0" u="none" strike="noStrike">
                <a:solidFill>
                  <a:srgbClr val="000000"/>
                </a:solidFill>
                <a:highlight>
                  <a:srgbClr val="000000">
                    <a:alpha val="0"/>
                  </a:srgbClr>
                </a:highlight>
                <a:latin typeface="Simsun"/>
                <a:ea typeface="Simsun"/>
              </a:rPr>
              <a:t>7 月 12 日（星期三），下午 4 点：住宅专业代码</a:t>
            </a:r>
          </a:p>
          <a:p>
            <a:pPr marL="228600" lvl="1" rtl="0">
              <a:spcBef>
                <a:spcPts val="1200"/>
              </a:spcBef>
            </a:pPr>
            <a:r>
              <a:rPr lang="zh-Hans" sz="2400" b="0" i="0" u="none" strike="noStrike">
                <a:solidFill>
                  <a:srgbClr val="000000"/>
                </a:solidFill>
                <a:highlight>
                  <a:srgbClr val="000000">
                    <a:alpha val="0"/>
                  </a:srgbClr>
                </a:highlight>
                <a:latin typeface="Simsun"/>
                <a:ea typeface="Simsun"/>
              </a:rPr>
              <a:t>在 Cambridge 各地的社区空间散发传单</a:t>
            </a:r>
          </a:p>
          <a:p>
            <a:pPr marL="228600" lvl="1" rtl="0">
              <a:spcBef>
                <a:spcPts val="1200"/>
              </a:spcBef>
            </a:pPr>
            <a:r>
              <a:rPr lang="zh-Hans" sz="2400" b="0" i="0" u="none" strike="noStrike">
                <a:solidFill>
                  <a:srgbClr val="000000"/>
                </a:solidFill>
                <a:highlight>
                  <a:srgbClr val="000000">
                    <a:alpha val="0"/>
                  </a:srgbClr>
                </a:highlight>
                <a:latin typeface="Simsun"/>
                <a:ea typeface="Simsun"/>
              </a:rPr>
              <a:t>新闻项目和在线信息</a:t>
            </a:r>
          </a:p>
          <a:p>
            <a:pPr marL="228600" lvl="1" rtl="0">
              <a:spcBef>
                <a:spcPts val="1200"/>
              </a:spcBef>
            </a:pPr>
            <a:r>
              <a:rPr lang="zh-Hans" sz="2400" b="0" i="0" u="none" strike="noStrike">
                <a:solidFill>
                  <a:srgbClr val="000000"/>
                </a:solidFill>
                <a:highlight>
                  <a:srgbClr val="000000">
                    <a:alpha val="0"/>
                  </a:srgbClr>
                </a:highlight>
                <a:latin typeface="Simsun"/>
                <a:ea typeface="Simsun"/>
              </a:rPr>
              <a:t>联系居民协会和商业协会</a:t>
            </a:r>
          </a:p>
          <a:p>
            <a:pPr marL="228600" lvl="1" rtl="0">
              <a:spcBef>
                <a:spcPts val="1200"/>
              </a:spcBef>
            </a:pPr>
            <a:r>
              <a:rPr lang="zh-Hans" sz="2400" b="0" i="0" u="none" strike="noStrike">
                <a:solidFill>
                  <a:srgbClr val="000000"/>
                </a:solidFill>
                <a:highlight>
                  <a:srgbClr val="000000">
                    <a:alpha val="0"/>
                  </a:srgbClr>
                </a:highlight>
                <a:latin typeface="Simsun"/>
                <a:ea typeface="Simsun"/>
              </a:rPr>
              <a:t>向在 Cambridge 工作的大型建筑业主和建筑专业人士提供的信息</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3</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4335965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723898" y="811057"/>
            <a:ext cx="10515600" cy="1049082"/>
          </a:xfrm>
        </p:spPr>
        <p:txBody>
          <a:bodyPr>
            <a:noAutofit/>
          </a:bodyPr>
          <a:lstStyle/>
          <a:p>
            <a:pPr rtl="0"/>
            <a:r>
              <a:rPr lang="zh-Hans" sz="3600" b="1" i="0" u="none" strike="noStrike">
                <a:solidFill>
                  <a:srgbClr val="1269A2"/>
                </a:solidFill>
                <a:highlight>
                  <a:srgbClr val="000000">
                    <a:alpha val="0"/>
                  </a:srgbClr>
                </a:highlight>
                <a:latin typeface="Simsun"/>
                <a:ea typeface="Simsun"/>
              </a:rPr>
              <a:t>我们希望您就 Cambridge 的新建筑和重大翻修如何实现无化石燃料提供反馈</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2036064"/>
            <a:ext cx="10744203" cy="4113804"/>
          </a:xfrm>
        </p:spPr>
        <p:txBody>
          <a:bodyPr>
            <a:noAutofit/>
          </a:bodyPr>
          <a:lstStyle/>
          <a:p>
            <a:pPr marL="0" indent="0" rtl="0">
              <a:spcBef>
                <a:spcPts val="1200"/>
              </a:spcBef>
              <a:buNone/>
            </a:pPr>
            <a:r>
              <a:rPr lang="zh-Hans" sz="2400" b="0" i="0" u="none" strike="noStrike">
                <a:solidFill>
                  <a:srgbClr val="000000"/>
                </a:solidFill>
                <a:highlight>
                  <a:srgbClr val="000000">
                    <a:alpha val="0"/>
                  </a:srgbClr>
                </a:highlight>
                <a:latin typeface="Simsun"/>
                <a:ea typeface="Simsun"/>
              </a:rPr>
              <a:t>除了在网络研讨会上获取反馈之外，还发起了一项在线调查，以收集 Cambridge 居民和业主的意见，涵盖：</a:t>
            </a:r>
          </a:p>
          <a:p>
            <a:pPr rtl="0">
              <a:spcBef>
                <a:spcPts val="1200"/>
              </a:spcBef>
            </a:pPr>
            <a:r>
              <a:rPr lang="zh-Hans" sz="2400" b="0" i="0" u="none" strike="noStrike">
                <a:solidFill>
                  <a:srgbClr val="000000"/>
                </a:solidFill>
                <a:highlight>
                  <a:srgbClr val="000000">
                    <a:alpha val="0"/>
                  </a:srgbClr>
                </a:highlight>
                <a:latin typeface="Simsun"/>
                <a:ea typeface="Simsun"/>
              </a:rPr>
              <a:t>我们应该重点研究的特定类型的建筑</a:t>
            </a:r>
          </a:p>
          <a:p>
            <a:pPr rtl="0">
              <a:spcBef>
                <a:spcPts val="1200"/>
              </a:spcBef>
            </a:pPr>
            <a:r>
              <a:rPr lang="zh-Hans" sz="2400" b="0" i="0" u="none" strike="noStrike">
                <a:solidFill>
                  <a:srgbClr val="000000"/>
                </a:solidFill>
                <a:highlight>
                  <a:srgbClr val="000000">
                    <a:alpha val="0"/>
                  </a:srgbClr>
                </a:highlight>
                <a:latin typeface="Simsun"/>
                <a:ea typeface="Simsun"/>
              </a:rPr>
              <a:t>我们应该进一步研究的具体用途或构建系统</a:t>
            </a:r>
          </a:p>
          <a:p>
            <a:pPr rtl="0">
              <a:spcBef>
                <a:spcPts val="1200"/>
              </a:spcBef>
            </a:pPr>
            <a:r>
              <a:rPr lang="zh-Hans" sz="2400" b="0" i="0" u="none" strike="noStrike">
                <a:solidFill>
                  <a:srgbClr val="000000"/>
                </a:solidFill>
                <a:highlight>
                  <a:srgbClr val="000000">
                    <a:alpha val="0"/>
                  </a:srgbClr>
                </a:highlight>
                <a:latin typeface="Simsun"/>
                <a:ea typeface="Simsun"/>
              </a:rPr>
              <a:t>重大翻修如何可以不使用化石燃料</a:t>
            </a:r>
          </a:p>
          <a:p>
            <a:pPr rtl="0">
              <a:spcBef>
                <a:spcPts val="1200"/>
              </a:spcBef>
            </a:pPr>
            <a:r>
              <a:rPr lang="zh-Hans" sz="2400" b="0" i="0" u="none" strike="noStrike">
                <a:solidFill>
                  <a:srgbClr val="000000"/>
                </a:solidFill>
                <a:highlight>
                  <a:srgbClr val="000000">
                    <a:alpha val="0"/>
                  </a:srgbClr>
                </a:highlight>
                <a:latin typeface="Simsun"/>
                <a:ea typeface="Simsun"/>
              </a:rPr>
              <a:t>我们应该研究的其他主题</a:t>
            </a:r>
          </a:p>
          <a:p>
            <a:pPr marL="0" indent="0" rtl="0">
              <a:spcBef>
                <a:spcPts val="1200"/>
              </a:spcBef>
              <a:buNone/>
            </a:pPr>
            <a:r>
              <a:rPr lang="zh-Hans" sz="2400" b="1" i="0" u="none" strike="noStrike">
                <a:solidFill>
                  <a:srgbClr val="000000"/>
                </a:solidFill>
                <a:highlight>
                  <a:srgbClr val="000000">
                    <a:alpha val="0"/>
                  </a:srgbClr>
                </a:highlight>
                <a:latin typeface="Simsun"/>
                <a:ea typeface="Simsun"/>
              </a:rPr>
              <a:t>调查回复将于 7 月 17</a:t>
            </a:r>
            <a:r>
              <a:rPr lang="zh-Hans" sz="2400" b="1" i="0" u="none" strike="noStrike" baseline="30000">
                <a:solidFill>
                  <a:srgbClr val="000000"/>
                </a:solidFill>
                <a:highlight>
                  <a:srgbClr val="000000">
                    <a:alpha val="0"/>
                  </a:srgbClr>
                </a:highlight>
                <a:latin typeface="Simsun"/>
                <a:ea typeface="Simsun"/>
              </a:rPr>
              <a:t>日</a:t>
            </a:r>
            <a:r>
              <a:rPr lang="zh-Hans" sz="2400" b="1" i="0" u="none" strike="noStrike">
                <a:solidFill>
                  <a:srgbClr val="000000"/>
                </a:solidFill>
                <a:highlight>
                  <a:srgbClr val="000000">
                    <a:alpha val="0"/>
                  </a:srgbClr>
                </a:highlight>
                <a:latin typeface="Simsun"/>
                <a:ea typeface="Simsun"/>
              </a:rPr>
              <a:t>之前纳入研究工作。</a:t>
            </a:r>
          </a:p>
          <a:p>
            <a:pPr marL="0" indent="0" rtl="0">
              <a:spcBef>
                <a:spcPts val="1200"/>
              </a:spcBef>
              <a:buNone/>
            </a:pPr>
            <a:r>
              <a:rPr lang="zh-Hans" sz="2400" b="0" i="0" u="none" strike="noStrike">
                <a:highlight>
                  <a:srgbClr val="000000">
                    <a:alpha val="0"/>
                  </a:srgbClr>
                </a:highlight>
                <a:latin typeface="Simsun"/>
                <a:ea typeface="Simsun"/>
                <a:hlinkClick r:id="rId2"/>
              </a:rPr>
              <a:t>https://bit.ly/FFFupdates</a:t>
            </a:r>
            <a:endParaRPr lang="en-US" sz="2400" b="1">
              <a:solidFill>
                <a:schemeClr val="tx2"/>
              </a:solidFill>
              <a:latin typeface="Calibri" panose="020F0502020204030204" pitchFamily="34" charset="0"/>
            </a:endParaRP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4</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56290004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Cambridge 的下一步</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1200"/>
              </a:spcBef>
              <a:buNone/>
            </a:pPr>
            <a:r>
              <a:rPr lang="zh-Hans" sz="2400" b="0" i="0" u="none" strike="noStrike">
                <a:solidFill>
                  <a:srgbClr val="000000"/>
                </a:solidFill>
                <a:highlight>
                  <a:srgbClr val="000000">
                    <a:alpha val="0"/>
                  </a:srgbClr>
                </a:highlight>
                <a:latin typeface="Simsun"/>
                <a:ea typeface="Simsun"/>
              </a:rPr>
              <a:t>我们正在与研究顾问合作，通过执行以下操作来探索对模型规则的任何更改是否合适：</a:t>
            </a:r>
          </a:p>
          <a:p>
            <a:pPr lvl="1" rtl="0">
              <a:spcBef>
                <a:spcPts val="1200"/>
              </a:spcBef>
            </a:pPr>
            <a:r>
              <a:rPr lang="zh-Hans" sz="2200" b="0" i="0" u="none" strike="noStrike">
                <a:solidFill>
                  <a:srgbClr val="000000"/>
                </a:solidFill>
                <a:highlight>
                  <a:srgbClr val="000000">
                    <a:alpha val="0"/>
                  </a:srgbClr>
                </a:highlight>
                <a:latin typeface="Simsun"/>
                <a:ea typeface="Simsun"/>
              </a:rPr>
              <a:t>检查在 Cambridge 建造或翻新的建筑物类型</a:t>
            </a:r>
          </a:p>
          <a:p>
            <a:pPr lvl="1" rtl="0">
              <a:spcBef>
                <a:spcPts val="1200"/>
              </a:spcBef>
            </a:pPr>
            <a:r>
              <a:rPr lang="zh-Hans" sz="2200" b="0" i="0" u="none" strike="noStrike">
                <a:solidFill>
                  <a:srgbClr val="000000"/>
                </a:solidFill>
                <a:highlight>
                  <a:srgbClr val="000000">
                    <a:alpha val="0"/>
                  </a:srgbClr>
                </a:highlight>
                <a:latin typeface="Simsun"/>
                <a:ea typeface="Simsun"/>
              </a:rPr>
              <a:t>了解特定建筑类型或最终用途的全电气设备的任何技术限制</a:t>
            </a:r>
          </a:p>
          <a:p>
            <a:pPr lvl="1" rtl="0">
              <a:spcBef>
                <a:spcPts val="1200"/>
              </a:spcBef>
            </a:pPr>
            <a:r>
              <a:rPr lang="zh-Hans" sz="2200" b="0" i="0" u="none" strike="noStrike">
                <a:solidFill>
                  <a:srgbClr val="000000"/>
                </a:solidFill>
                <a:highlight>
                  <a:srgbClr val="000000">
                    <a:alpha val="0"/>
                  </a:srgbClr>
                </a:highlight>
                <a:latin typeface="Simsun"/>
                <a:ea typeface="Simsun"/>
              </a:rPr>
              <a:t>审查这些要求将如何影响 的流Cambridge 程负载</a:t>
            </a:r>
          </a:p>
          <a:p>
            <a:pPr lvl="1" rtl="0">
              <a:spcBef>
                <a:spcPts val="1200"/>
              </a:spcBef>
            </a:pPr>
            <a:r>
              <a:rPr lang="zh-Hans" sz="2200" b="0" i="0" u="none" strike="noStrike">
                <a:solidFill>
                  <a:srgbClr val="000000"/>
                </a:solidFill>
                <a:highlight>
                  <a:srgbClr val="000000">
                    <a:alpha val="0"/>
                  </a:srgbClr>
                </a:highlight>
                <a:latin typeface="Simsun"/>
                <a:ea typeface="Simsun"/>
              </a:rPr>
              <a:t>审查从调查中收到的输入以纳入研究</a:t>
            </a:r>
          </a:p>
          <a:p>
            <a:pPr marL="0" indent="0">
              <a:spcBef>
                <a:spcPts val="1200"/>
              </a:spcBef>
              <a:buNone/>
            </a:pPr>
            <a:endParaRPr lang="en-US" sz="2400">
              <a:solidFill>
                <a:schemeClr val="tx2"/>
              </a:solidFill>
              <a:latin typeface="Calibri" panose="020F0502020204030204" pitchFamily="34" charset="0"/>
            </a:endParaRPr>
          </a:p>
          <a:p>
            <a:pPr marL="0" indent="0" rtl="0">
              <a:spcBef>
                <a:spcPts val="1200"/>
              </a:spcBef>
              <a:buNone/>
            </a:pPr>
            <a:r>
              <a:rPr lang="zh-Hans" sz="2400" b="0" i="0" u="none" strike="noStrike">
                <a:solidFill>
                  <a:srgbClr val="000000"/>
                </a:solidFill>
                <a:highlight>
                  <a:srgbClr val="000000">
                    <a:alpha val="0"/>
                  </a:srgbClr>
                </a:highlight>
                <a:latin typeface="Simsun"/>
                <a:ea typeface="Simsun"/>
              </a:rPr>
              <a:t>市议会将在</a:t>
            </a:r>
            <a:r>
              <a:rPr lang="zh-Hans" sz="2400" b="1" i="0" u="none" strike="noStrike">
                <a:solidFill>
                  <a:srgbClr val="000000"/>
                </a:solidFill>
                <a:highlight>
                  <a:srgbClr val="000000">
                    <a:alpha val="0"/>
                  </a:srgbClr>
                </a:highlight>
                <a:latin typeface="Simsun"/>
                <a:ea typeface="Simsun"/>
              </a:rPr>
              <a:t>8 月 1 日的条例委员会会议</a:t>
            </a:r>
            <a:r>
              <a:rPr lang="zh-Hans" sz="2400" b="0" i="0" u="none" strike="noStrike">
                <a:solidFill>
                  <a:srgbClr val="000000"/>
                </a:solidFill>
                <a:highlight>
                  <a:srgbClr val="000000">
                    <a:alpha val="0"/>
                  </a:srgbClr>
                </a:highlight>
                <a:latin typeface="Simsun"/>
                <a:ea typeface="Simsun"/>
              </a:rPr>
              <a:t>上讨论拟议的条例措辞，并于</a:t>
            </a:r>
            <a:r>
              <a:rPr lang="zh-Hans" sz="2400" b="1" i="0" u="none" strike="noStrike">
                <a:solidFill>
                  <a:srgbClr val="000000"/>
                </a:solidFill>
                <a:highlight>
                  <a:srgbClr val="000000">
                    <a:alpha val="0"/>
                  </a:srgbClr>
                </a:highlight>
                <a:latin typeface="Simsun"/>
                <a:ea typeface="Simsun"/>
              </a:rPr>
              <a:t> 8 月 7 日就最终语言</a:t>
            </a:r>
            <a:r>
              <a:rPr lang="zh-Hans" sz="2400" b="0" i="0" u="none" strike="noStrike">
                <a:solidFill>
                  <a:srgbClr val="000000"/>
                </a:solidFill>
                <a:highlight>
                  <a:srgbClr val="000000">
                    <a:alpha val="0"/>
                  </a:srgbClr>
                </a:highlight>
                <a:latin typeface="Simsun"/>
                <a:ea typeface="Simsun"/>
              </a:rPr>
              <a:t>进行投票。</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5</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47262503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问题与解答</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graphicFrame>
        <p:nvGraphicFramePr>
          <p:cNvPr id="3" name="Content Placeholder 3" descr="Write your questions in the Zoom Q&amp;A panel">
            <a:extLst>
              <a:ext uri="{FF2B5EF4-FFF2-40B4-BE49-F238E27FC236}">
                <a16:creationId xmlns:a16="http://schemas.microsoft.com/office/drawing/2014/main" id="{B21E3827-1DB0-0D3E-8DCC-20E920E4B217}"/>
              </a:ext>
            </a:extLst>
          </p:cNvPr>
          <p:cNvGraphicFramePr>
            <a:graphicFrameLocks noGrp="1"/>
          </p:cNvGraphicFramePr>
          <p:nvPr>
            <p:ph idx="1"/>
            <p:extLst>
              <p:ext uri="{D42A27DB-BD31-4B8C-83A1-F6EECF244321}">
                <p14:modId xmlns:p14="http://schemas.microsoft.com/office/powerpoint/2010/main" val="264517241"/>
              </p:ext>
            </p:extLst>
          </p:nvPr>
        </p:nvGraphicFramePr>
        <p:xfrm>
          <a:off x="838200" y="1690689"/>
          <a:ext cx="10866120" cy="30616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F6A06A7-FFFD-A2F5-F721-592EDB8AAA09}"/>
              </a:ext>
              <a:ext uri="{C183D7F6-B498-43B3-948B-1728B52AA6E4}">
                <adec:decorative xmlns:adec="http://schemas.microsoft.com/office/drawing/2017/decorative" val="1"/>
              </a:ext>
            </a:extLst>
          </p:cNvPr>
          <p:cNvSpPr txBox="1"/>
          <p:nvPr/>
        </p:nvSpPr>
        <p:spPr>
          <a:xfrm>
            <a:off x="3149102" y="5313390"/>
            <a:ext cx="1904724" cy="923330"/>
          </a:xfrm>
          <a:prstGeom prst="rect">
            <a:avLst/>
          </a:prstGeom>
          <a:noFill/>
        </p:spPr>
        <p:txBody>
          <a:bodyPr wrap="squar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a:solidFill>
                  <a:srgbClr val="1269A2"/>
                </a:solidFill>
                <a:highlight>
                  <a:srgbClr val="000000">
                    <a:alpha val="0"/>
                  </a:srgbClr>
                </a:highlight>
                <a:uLnTx/>
                <a:uFillTx/>
                <a:latin typeface="Simsun"/>
                <a:ea typeface="Simsun"/>
                <a:cs typeface="+mn-cs"/>
              </a:rPr>
              <a:t>缩放 Zoom 屏幕的底部面板</a:t>
            </a:r>
          </a:p>
        </p:txBody>
      </p:sp>
      <p:pic>
        <p:nvPicPr>
          <p:cNvPr id="5" name="Picture 4">
            <a:extLst>
              <a:ext uri="{FF2B5EF4-FFF2-40B4-BE49-F238E27FC236}">
                <a16:creationId xmlns:a16="http://schemas.microsoft.com/office/drawing/2014/main" id="{34E7080A-BF57-D511-AB85-451D6AB36BD3}"/>
              </a:ext>
              <a:ext uri="{C183D7F6-B498-43B3-948B-1728B52AA6E4}">
                <adec:decorative xmlns:adec="http://schemas.microsoft.com/office/drawing/2017/decorative" val="1"/>
              </a:ext>
            </a:extLst>
          </p:cNvPr>
          <p:cNvPicPr>
            <a:picLocks noChangeAspect="1"/>
          </p:cNvPicPr>
          <p:nvPr/>
        </p:nvPicPr>
        <p:blipFill>
          <a:blip r:embed="rId7"/>
          <a:srcRect l="28726" r="48292"/>
          <a:stretch>
            <a:fillRect/>
          </a:stretch>
        </p:blipFill>
        <p:spPr>
          <a:xfrm>
            <a:off x="5160703" y="5167312"/>
            <a:ext cx="1637304" cy="1134448"/>
          </a:xfrm>
          <a:prstGeom prst="rect">
            <a:avLst/>
          </a:prstGeom>
        </p:spPr>
      </p:pic>
      <p:sp>
        <p:nvSpPr>
          <p:cNvPr id="7" name="Flowchart: Off-page Connector 6">
            <a:extLst>
              <a:ext uri="{FF2B5EF4-FFF2-40B4-BE49-F238E27FC236}">
                <a16:creationId xmlns:a16="http://schemas.microsoft.com/office/drawing/2014/main" id="{ACB251AD-130B-1E9A-527E-F944D052EF3D}"/>
              </a:ext>
              <a:ext uri="{C183D7F6-B498-43B3-948B-1728B52AA6E4}">
                <adec:decorative xmlns:adec="http://schemas.microsoft.com/office/drawing/2017/decorative" val="1"/>
              </a:ext>
            </a:extLst>
          </p:cNvPr>
          <p:cNvSpPr/>
          <p:nvPr/>
        </p:nvSpPr>
        <p:spPr>
          <a:xfrm rot="5400000">
            <a:off x="7283641" y="4928123"/>
            <a:ext cx="763307" cy="1637302"/>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 name="TextBox 9">
            <a:extLst>
              <a:ext uri="{FF2B5EF4-FFF2-40B4-BE49-F238E27FC236}">
                <a16:creationId xmlns:a16="http://schemas.microsoft.com/office/drawing/2014/main" id="{D141A10D-5B03-7E89-B4DE-3B8BE28B7D19}"/>
              </a:ext>
              <a:ext uri="{C183D7F6-B498-43B3-948B-1728B52AA6E4}">
                <adec:decorative xmlns:adec="http://schemas.microsoft.com/office/drawing/2017/decorative" val="1"/>
              </a:ext>
            </a:extLst>
          </p:cNvPr>
          <p:cNvSpPr txBox="1"/>
          <p:nvPr/>
        </p:nvSpPr>
        <p:spPr>
          <a:xfrm>
            <a:off x="7072274" y="5401676"/>
            <a:ext cx="1518549" cy="646331"/>
          </a:xfrm>
          <a:prstGeom prst="rect">
            <a:avLst/>
          </a:prstGeom>
          <a:noFill/>
        </p:spPr>
        <p:txBody>
          <a:bodyPr wrap="squar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a:solidFill>
                  <a:srgbClr val="FFFFFF"/>
                </a:solidFill>
                <a:highlight>
                  <a:srgbClr val="000000">
                    <a:alpha val="0"/>
                  </a:srgbClr>
                </a:highlight>
                <a:uLnTx/>
                <a:uFillTx/>
                <a:latin typeface="Simsun"/>
                <a:ea typeface="Simsun"/>
                <a:cs typeface="+mn-cs"/>
              </a:rPr>
              <a:t>发问问题</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6</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7523459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F196868-1C52-8D91-AF0E-C71A04E48012}"/>
              </a:ext>
            </a:extLst>
          </p:cNvPr>
          <p:cNvSpPr txBox="1">
            <a:spLocks noGrp="1"/>
          </p:cNvSpPr>
          <p:nvPr>
            <p:ph type="title" idx="4294967295"/>
          </p:nvPr>
        </p:nvSpPr>
        <p:spPr>
          <a:xfrm>
            <a:off x="652509" y="664739"/>
            <a:ext cx="10515600" cy="1049082"/>
          </a:xfrm>
          <a:prstGeom prst="rect">
            <a:avLst/>
          </a:prstGeom>
          <a:no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zh-Hans" sz="4400" b="1" i="0" u="none" strike="noStrike" kern="1200" cap="none" spc="0" normalizeH="0" baseline="0" noProof="0">
                <a:solidFill>
                  <a:srgbClr val="1269A2"/>
                </a:solidFill>
                <a:highlight>
                  <a:srgbClr val="000000">
                    <a:alpha val="0"/>
                  </a:srgbClr>
                </a:highlight>
                <a:uLnTx/>
                <a:uFillTx/>
                <a:latin typeface="Simsun"/>
                <a:ea typeface="Simsun"/>
                <a:cs typeface="+mj-cs"/>
              </a:rPr>
              <a:t>了解更多信息</a:t>
            </a:r>
          </a:p>
        </p:txBody>
      </p:sp>
      <p:sp>
        <p:nvSpPr>
          <p:cNvPr id="3" name="Content Placeholder 2">
            <a:extLst>
              <a:ext uri="{FF2B5EF4-FFF2-40B4-BE49-F238E27FC236}">
                <a16:creationId xmlns:a16="http://schemas.microsoft.com/office/drawing/2014/main" id="{2088BC24-1734-6419-1D44-083DDAA0362A}"/>
              </a:ext>
            </a:extLst>
          </p:cNvPr>
          <p:cNvSpPr>
            <a:spLocks noGrp="1"/>
          </p:cNvSpPr>
          <p:nvPr>
            <p:ph idx="1"/>
          </p:nvPr>
        </p:nvSpPr>
        <p:spPr/>
        <p:txBody>
          <a:bodyPr>
            <a:noAutofit/>
          </a:bodyPr>
          <a:lstStyle/>
          <a:p>
            <a:pPr rtl="0"/>
            <a:r>
              <a:rPr lang="zh-Hans" sz="2800" b="0" i="0" u="none" strike="noStrike">
                <a:highlight>
                  <a:srgbClr val="000000">
                    <a:alpha val="0"/>
                  </a:srgbClr>
                </a:highlight>
                <a:latin typeface="Simsun"/>
                <a:ea typeface="Simsun"/>
              </a:rPr>
              <a:t>请访问我们</a:t>
            </a:r>
            <a:r>
              <a:rPr lang="zh-Hans" sz="2800" b="1" i="0" u="none" strike="noStrike">
                <a:highlight>
                  <a:srgbClr val="000000">
                    <a:alpha val="0"/>
                  </a:srgbClr>
                </a:highlight>
                <a:latin typeface="Simsun"/>
                <a:ea typeface="Simsun"/>
                <a:hlinkClick r:id="rId2"/>
              </a:rPr>
              <a:t>的</a:t>
            </a:r>
            <a:r>
              <a:rPr lang="zh-Hans" sz="2800" b="0" i="0" u="none" strike="noStrike">
                <a:highlight>
                  <a:srgbClr val="000000">
                    <a:alpha val="0"/>
                  </a:srgbClr>
                </a:highlight>
                <a:latin typeface="Simsun"/>
                <a:ea typeface="Simsun"/>
              </a:rPr>
              <a:t>网页 </a:t>
            </a:r>
            <a:r>
              <a:rPr lang="zh-Hans" sz="2800" b="0" i="0" u="none" strike="noStrike">
                <a:highlight>
                  <a:srgbClr val="000000">
                    <a:alpha val="0"/>
                  </a:srgbClr>
                </a:highlight>
                <a:latin typeface="Simsun"/>
                <a:ea typeface="Simsun"/>
                <a:hlinkClick r:id="rId2"/>
              </a:rPr>
              <a:t>https://bit.ly/FFFupdates</a:t>
            </a:r>
            <a:endParaRPr lang="en-US" b="1"/>
          </a:p>
          <a:p>
            <a:pPr rtl="0"/>
            <a:r>
              <a:rPr lang="zh-Hans" sz="2800" b="0" i="0" u="none" strike="noStrike">
                <a:highlight>
                  <a:srgbClr val="000000">
                    <a:alpha val="0"/>
                  </a:srgbClr>
                </a:highlight>
                <a:latin typeface="Simsun"/>
                <a:ea typeface="Simsun"/>
              </a:rPr>
              <a:t>7 月 17</a:t>
            </a:r>
            <a:r>
              <a:rPr lang="zh-Hans" sz="2800" b="0" i="0" u="none" strike="noStrike" baseline="30000">
                <a:highlight>
                  <a:srgbClr val="000000">
                    <a:alpha val="0"/>
                  </a:srgbClr>
                </a:highlight>
                <a:latin typeface="Simsun"/>
                <a:ea typeface="Simsun"/>
              </a:rPr>
              <a:t>日前</a:t>
            </a:r>
            <a:r>
              <a:rPr lang="zh-Hans" sz="2800" b="0" i="0" u="none" strike="noStrike">
                <a:highlight>
                  <a:srgbClr val="000000">
                    <a:alpha val="0"/>
                  </a:srgbClr>
                </a:highlight>
                <a:latin typeface="Simsun"/>
                <a:ea typeface="Simsun"/>
              </a:rPr>
              <a:t>完成调查</a:t>
            </a:r>
            <a:endParaRPr lang="en-US"/>
          </a:p>
          <a:p>
            <a:pPr rtl="0"/>
            <a:r>
              <a:rPr lang="zh-Hans" sz="2800" b="0" i="0" u="none" strike="noStrike">
                <a:highlight>
                  <a:srgbClr val="000000">
                    <a:alpha val="0"/>
                  </a:srgbClr>
                </a:highlight>
                <a:latin typeface="Simsun"/>
                <a:ea typeface="Simsun"/>
              </a:rPr>
              <a:t>7 月 24 日网络研讨会</a:t>
            </a:r>
          </a:p>
          <a:p>
            <a:pPr rtl="0"/>
            <a:r>
              <a:rPr lang="zh-Hans" sz="2800" b="0" i="0" u="none" strike="noStrike">
                <a:highlight>
                  <a:srgbClr val="000000">
                    <a:alpha val="0"/>
                  </a:srgbClr>
                </a:highlight>
                <a:latin typeface="Simsun"/>
                <a:ea typeface="Simsun"/>
              </a:rPr>
              <a:t>联系 Brad：bpillen@cambridgema.gov</a:t>
            </a:r>
          </a:p>
          <a:p>
            <a:endParaRPr lang="en-US"/>
          </a:p>
        </p:txBody>
      </p:sp>
      <p:sp>
        <p:nvSpPr>
          <p:cNvPr id="6" name="Rectangle 5">
            <a:extLst>
              <a:ext uri="{FF2B5EF4-FFF2-40B4-BE49-F238E27FC236}">
                <a16:creationId xmlns:a16="http://schemas.microsoft.com/office/drawing/2014/main" id="{E351053B-92D9-7338-1543-BD80B26AF33E}"/>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2" name="Footer Placeholder 2">
            <a:extLst>
              <a:ext uri="{FF2B5EF4-FFF2-40B4-BE49-F238E27FC236}">
                <a16:creationId xmlns:a16="http://schemas.microsoft.com/office/drawing/2014/main" id="{75D8E2BC-B067-A912-1925-E4F54C1A3555}"/>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7" name="Slide Number Placeholder 3">
            <a:extLst>
              <a:ext uri="{FF2B5EF4-FFF2-40B4-BE49-F238E27FC236}">
                <a16:creationId xmlns:a16="http://schemas.microsoft.com/office/drawing/2014/main" id="{E5C00FE7-1626-A64E-216E-7FC46708F8F1}"/>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7</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399221053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5C3F6FE-508A-07E3-DEBA-1E6F5932979C}"/>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谢谢你！</a:t>
            </a:r>
          </a:p>
        </p:txBody>
      </p:sp>
      <p:sp>
        <p:nvSpPr>
          <p:cNvPr id="8" name="Rectangle 7">
            <a:extLst>
              <a:ext uri="{FF2B5EF4-FFF2-40B4-BE49-F238E27FC236}">
                <a16:creationId xmlns:a16="http://schemas.microsoft.com/office/drawing/2014/main" id="{99FCCC70-6E17-33E9-D66D-B6B3B0A563C9}"/>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5" name="Footer Placeholder 2">
            <a:extLst>
              <a:ext uri="{FF2B5EF4-FFF2-40B4-BE49-F238E27FC236}">
                <a16:creationId xmlns:a16="http://schemas.microsoft.com/office/drawing/2014/main" id="{B8DEC12F-2E52-AC16-EF21-4BB45422D8B6}"/>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6" name="Slide Number Placeholder 3">
            <a:extLst>
              <a:ext uri="{FF2B5EF4-FFF2-40B4-BE49-F238E27FC236}">
                <a16:creationId xmlns:a16="http://schemas.microsoft.com/office/drawing/2014/main" id="{BBD967D3-9B49-861D-D44F-CBEE271A4D5A}"/>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28</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425586183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03681-83BA-14F1-D3BA-1D9F3C619B06}"/>
              </a:ext>
            </a:extLst>
          </p:cNvPr>
          <p:cNvSpPr txBox="1">
            <a:spLocks noGrp="1"/>
          </p:cNvSpPr>
          <p:nvPr>
            <p:ph type="title" idx="4294967295"/>
          </p:nvPr>
        </p:nvSpPr>
        <p:spPr>
          <a:xfrm>
            <a:off x="652509" y="997150"/>
            <a:ext cx="10515600" cy="1049082"/>
          </a:xfrm>
          <a:prstGeom prst="rect">
            <a:avLst/>
          </a:prstGeom>
          <a:no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zh-Hans" sz="4400" b="1" i="0" u="none" strike="noStrike" kern="1200" cap="none" spc="0" normalizeH="0" baseline="0" noProof="0">
                <a:solidFill>
                  <a:srgbClr val="1269A2"/>
                </a:solidFill>
                <a:highlight>
                  <a:srgbClr val="000000">
                    <a:alpha val="0"/>
                  </a:srgbClr>
                </a:highlight>
                <a:uLnTx/>
                <a:uFillTx/>
                <a:latin typeface="Simsun"/>
                <a:ea typeface="Simsun"/>
                <a:cs typeface="+mj-cs"/>
              </a:rPr>
              <a:t>提出问题或发表评论的说明</a:t>
            </a:r>
          </a:p>
        </p:txBody>
      </p:sp>
      <p:graphicFrame>
        <p:nvGraphicFramePr>
          <p:cNvPr id="23" name="Content Placeholder 3" descr="You will  join the meeting with video and mic off. You can type written questions in the Zoom Q&amp;A panel">
            <a:extLst>
              <a:ext uri="{FF2B5EF4-FFF2-40B4-BE49-F238E27FC236}">
                <a16:creationId xmlns:a16="http://schemas.microsoft.com/office/drawing/2014/main" id="{6A970923-3EE9-5110-7D67-6F29AF537C54}"/>
              </a:ext>
            </a:extLst>
          </p:cNvPr>
          <p:cNvGraphicFramePr>
            <a:graphicFrameLocks noGrp="1"/>
          </p:cNvGraphicFramePr>
          <p:nvPr>
            <p:ph idx="1"/>
            <p:extLst>
              <p:ext uri="{D42A27DB-BD31-4B8C-83A1-F6EECF244321}">
                <p14:modId xmlns:p14="http://schemas.microsoft.com/office/powerpoint/2010/main" val="2622436672"/>
              </p:ext>
            </p:extLst>
          </p:nvPr>
        </p:nvGraphicFramePr>
        <p:xfrm>
          <a:off x="838200" y="2308562"/>
          <a:ext cx="10866120" cy="3061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C183D7F6-B498-43B3-948B-1728B52AA6E4}">
                <adec:decorative xmlns:adec="http://schemas.microsoft.com/office/drawing/2017/decorative" val="1"/>
              </a:ext>
            </a:extLst>
          </p:cNvPr>
          <p:cNvSpPr txBox="1"/>
          <p:nvPr/>
        </p:nvSpPr>
        <p:spPr>
          <a:xfrm>
            <a:off x="3149102" y="5313390"/>
            <a:ext cx="1904724" cy="923330"/>
          </a:xfrm>
          <a:prstGeom prst="rect">
            <a:avLst/>
          </a:prstGeom>
          <a:noFill/>
        </p:spPr>
        <p:txBody>
          <a:bodyPr wrap="squar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a:solidFill>
                  <a:srgbClr val="1269A2"/>
                </a:solidFill>
                <a:highlight>
                  <a:srgbClr val="000000">
                    <a:alpha val="0"/>
                  </a:srgbClr>
                </a:highlight>
                <a:uLnTx/>
                <a:uFillTx/>
                <a:latin typeface="Simsun"/>
                <a:ea typeface="Simsun"/>
                <a:cs typeface="+mn-cs"/>
              </a:rPr>
              <a:t>缩放 Zoom 屏幕的底部面板</a:t>
            </a:r>
          </a:p>
        </p:txBody>
      </p:sp>
      <p:sp>
        <p:nvSpPr>
          <p:cNvPr id="8" name="Footer Placeholder 2">
            <a:extLst>
              <a:ext uri="{FF2B5EF4-FFF2-40B4-BE49-F238E27FC236}">
                <a16:creationId xmlns:a16="http://schemas.microsoft.com/office/drawing/2014/main" id="{9121920D-1DB4-45C1-AB2E-E79AF596F6E5}"/>
              </a:ext>
              <a:ext uri="{C183D7F6-B498-43B3-948B-1728B52AA6E4}">
                <adec:decorative xmlns:adec="http://schemas.microsoft.com/office/drawing/2017/decorative" val="1"/>
              </a:ext>
            </a:extLst>
          </p:cNvPr>
          <p:cNvSpPr txBox="1"/>
          <p:nvPr/>
        </p:nvSpPr>
        <p:spPr>
          <a:xfrm>
            <a:off x="71700" y="6574717"/>
            <a:ext cx="4114800" cy="262815"/>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AEABAB"/>
                </a:solidFill>
                <a:highlight>
                  <a:srgbClr val="000000">
                    <a:alpha val="0"/>
                  </a:srgbClr>
                </a:highlight>
                <a:uLnTx/>
                <a:uFillTx/>
                <a:latin typeface="Simsun"/>
                <a:ea typeface="Simsun"/>
                <a:cs typeface="+mn-cs"/>
              </a:rPr>
              <a:t>Cambridge 市 - 社区发展部</a:t>
            </a:r>
          </a:p>
        </p:txBody>
      </p:sp>
      <p:sp>
        <p:nvSpPr>
          <p:cNvPr id="11" name="Slide Number Placeholder 3">
            <a:extLst>
              <a:ext uri="{FF2B5EF4-FFF2-40B4-BE49-F238E27FC236}">
                <a16:creationId xmlns:a16="http://schemas.microsoft.com/office/drawing/2014/main" id="{CF6A662C-B159-4D4A-B55E-03EE61F7E70F}"/>
              </a:ext>
              <a:ext uri="{C183D7F6-B498-43B3-948B-1728B52AA6E4}">
                <adec:decorative xmlns:adec="http://schemas.microsoft.com/office/drawing/2017/decorative" val="1"/>
              </a:ext>
            </a:extLst>
          </p:cNvPr>
          <p:cNvSpPr txBox="1"/>
          <p:nvPr/>
        </p:nvSpPr>
        <p:spPr>
          <a:xfrm>
            <a:off x="9324812" y="6574717"/>
            <a:ext cx="2743200" cy="262815"/>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AEABAB"/>
                </a:solidFill>
                <a:highlight>
                  <a:srgbClr val="000000">
                    <a:alpha val="0"/>
                  </a:srgbClr>
                </a:highlight>
                <a:uLnTx/>
                <a:uFillTx/>
                <a:latin typeface="Simsun"/>
                <a:ea typeface="Simsun"/>
                <a:cs typeface="+mn-cs"/>
              </a:rPr>
              <a:t>2023 年 7 月	3</a:t>
            </a:r>
            <a:endParaRPr kumimoji="0" lang="en-US" sz="1100" b="0" i="0" u="none" strike="noStrike" kern="1200" cap="none" spc="0" normalizeH="0" baseline="0" noProof="0">
              <a:ln>
                <a:noFill/>
              </a:ln>
              <a:solidFill>
                <a:srgbClr val="AEABAB"/>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A7E6D13E-3F18-D30A-8248-80383CD52044}"/>
              </a:ext>
              <a:ext uri="{C183D7F6-B498-43B3-948B-1728B52AA6E4}">
                <adec:decorative xmlns:adec="http://schemas.microsoft.com/office/drawing/2017/decorative" val="1"/>
              </a:ext>
            </a:extLst>
          </p:cNvPr>
          <p:cNvPicPr>
            <a:picLocks noChangeAspect="1"/>
          </p:cNvPicPr>
          <p:nvPr/>
        </p:nvPicPr>
        <p:blipFill>
          <a:blip r:embed="rId8"/>
          <a:srcRect l="28726" r="48292"/>
          <a:stretch>
            <a:fillRect/>
          </a:stretch>
        </p:blipFill>
        <p:spPr>
          <a:xfrm>
            <a:off x="5160703" y="5167312"/>
            <a:ext cx="1637304" cy="1134448"/>
          </a:xfrm>
          <a:prstGeom prst="rect">
            <a:avLst/>
          </a:prstGeom>
        </p:spPr>
      </p:pic>
      <p:sp>
        <p:nvSpPr>
          <p:cNvPr id="9" name="Flowchart: Off-page Connector 8">
            <a:extLst>
              <a:ext uri="{C183D7F6-B498-43B3-948B-1728B52AA6E4}">
                <adec:decorative xmlns:adec="http://schemas.microsoft.com/office/drawing/2017/decorative" val="1"/>
              </a:ext>
            </a:extLst>
          </p:cNvPr>
          <p:cNvSpPr/>
          <p:nvPr/>
        </p:nvSpPr>
        <p:spPr>
          <a:xfrm rot="5400000">
            <a:off x="7283641" y="4928123"/>
            <a:ext cx="763307" cy="1637302"/>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 name="TextBox 9">
            <a:extLst>
              <a:ext uri="{C183D7F6-B498-43B3-948B-1728B52AA6E4}">
                <adec:decorative xmlns:adec="http://schemas.microsoft.com/office/drawing/2017/decorative" val="1"/>
              </a:ext>
            </a:extLst>
          </p:cNvPr>
          <p:cNvSpPr txBox="1"/>
          <p:nvPr/>
        </p:nvSpPr>
        <p:spPr>
          <a:xfrm>
            <a:off x="7072274" y="5401676"/>
            <a:ext cx="1518549" cy="646331"/>
          </a:xfrm>
          <a:prstGeom prst="rect">
            <a:avLst/>
          </a:prstGeom>
          <a:noFill/>
        </p:spPr>
        <p:txBody>
          <a:bodyPr wrap="squar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dirty="0">
                <a:solidFill>
                  <a:srgbClr val="FFFFFF"/>
                </a:solidFill>
                <a:highlight>
                  <a:srgbClr val="000000">
                    <a:alpha val="0"/>
                  </a:srgbClr>
                </a:highlight>
                <a:uLnTx/>
                <a:uFillTx/>
                <a:latin typeface="Simsun"/>
                <a:ea typeface="Simsun"/>
                <a:cs typeface="+mn-cs"/>
              </a:rPr>
              <a:t>发问问题</a:t>
            </a:r>
          </a:p>
        </p:txBody>
      </p:sp>
      <p:sp>
        <p:nvSpPr>
          <p:cNvPr id="4" name="Rectangle 3">
            <a:extLst>
              <a:ext uri="{FF2B5EF4-FFF2-40B4-BE49-F238E27FC236}">
                <a16:creationId xmlns:a16="http://schemas.microsoft.com/office/drawing/2014/main" id="{E3A07C0A-9186-3109-07B2-97E65FF10052}"/>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15" name="Content Placeholder 2">
            <a:extLst>
              <a:ext uri="{FF2B5EF4-FFF2-40B4-BE49-F238E27FC236}">
                <a16:creationId xmlns:a16="http://schemas.microsoft.com/office/drawing/2014/main" id="{133C9064-36E8-9E93-C896-7069C24EFB28}"/>
              </a:ext>
            </a:extLst>
          </p:cNvPr>
          <p:cNvSpPr txBox="1"/>
          <p:nvPr/>
        </p:nvSpPr>
        <p:spPr>
          <a:xfrm>
            <a:off x="652509" y="2058455"/>
            <a:ext cx="10588515" cy="30532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ADB5"/>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00ADB5"/>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00ADB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00ADB5"/>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00ADB5"/>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我们将在演示结束后回答问题。</a:t>
            </a:r>
          </a:p>
        </p:txBody>
      </p:sp>
      <p:sp>
        <p:nvSpPr>
          <p:cNvPr id="14" name="TextBox 13">
            <a:extLst>
              <a:ext uri="{FF2B5EF4-FFF2-40B4-BE49-F238E27FC236}">
                <a16:creationId xmlns:a16="http://schemas.microsoft.com/office/drawing/2014/main" id="{9C52EBCC-05CF-19D1-CA36-2D2D0F98314B}"/>
              </a:ext>
            </a:extLst>
          </p:cNvPr>
          <p:cNvSpPr txBox="1"/>
          <p:nvPr/>
        </p:nvSpPr>
        <p:spPr>
          <a:xfrm>
            <a:off x="8865090" y="5317165"/>
            <a:ext cx="2887866" cy="923330"/>
          </a:xfrm>
          <a:prstGeom prst="rect">
            <a:avLst/>
          </a:prstGeom>
          <a:noFill/>
        </p:spPr>
        <p:txBody>
          <a:bodyPr wrap="square">
            <a:noAutofit/>
          </a:bodyPr>
          <a:lstStyle/>
          <a:p>
            <a:pPr rtl="0"/>
            <a:r>
              <a:rPr lang="zh-Hans" sz="1800" b="1" u="none" strike="noStrike" dirty="0">
                <a:solidFill>
                  <a:srgbClr val="1269A2"/>
                </a:solidFill>
                <a:highlight>
                  <a:srgbClr val="000000">
                    <a:alpha val="0"/>
                  </a:srgbClr>
                </a:highlight>
                <a:latin typeface="Simsun"/>
                <a:ea typeface="Simsun"/>
              </a:rPr>
              <a:t>对于技术问题，请发送电子邮件至：jballew@cambridgema.gov</a:t>
            </a:r>
            <a:endParaRPr lang="en-US" dirty="0"/>
          </a:p>
        </p:txBody>
      </p:sp>
    </p:spTree>
    <p:extLst>
      <p:ext uri="{BB962C8B-B14F-4D97-AF65-F5344CB8AC3E}">
        <p14:creationId xmlns:p14="http://schemas.microsoft.com/office/powerpoint/2010/main" val="347470035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议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背景：</a:t>
            </a:r>
          </a:p>
          <a:p>
            <a:pPr lvl="1" rtl="0">
              <a:spcBef>
                <a:spcPts val="600"/>
              </a:spcBef>
            </a:pPr>
            <a:r>
              <a:rPr lang="zh-Hans" sz="2400" b="0" i="0" u="none" strike="noStrike">
                <a:solidFill>
                  <a:srgbClr val="000000"/>
                </a:solidFill>
                <a:highlight>
                  <a:srgbClr val="000000">
                    <a:alpha val="0"/>
                  </a:srgbClr>
                </a:highlight>
                <a:latin typeface="Simsun"/>
                <a:ea typeface="Simsun"/>
              </a:rPr>
              <a:t>Cambridge 应对气候变化的举措</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新规定：</a:t>
            </a:r>
          </a:p>
          <a:p>
            <a:pPr lvl="1" rtl="0">
              <a:spcBef>
                <a:spcPts val="600"/>
              </a:spcBef>
            </a:pPr>
            <a:r>
              <a:rPr lang="zh-Hans" sz="2400" b="0" i="0" u="none" strike="noStrike">
                <a:solidFill>
                  <a:srgbClr val="000000"/>
                </a:solidFill>
                <a:highlight>
                  <a:srgbClr val="000000">
                    <a:alpha val="0"/>
                  </a:srgbClr>
                </a:highlight>
                <a:latin typeface="Simsun"/>
                <a:ea typeface="Simsun"/>
              </a:rPr>
              <a:t>Massachusetts 州无化石燃料示范计划</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提议的要求：</a:t>
            </a:r>
          </a:p>
          <a:p>
            <a:pPr lvl="1" rtl="0">
              <a:spcBef>
                <a:spcPts val="600"/>
              </a:spcBef>
            </a:pPr>
            <a:r>
              <a:rPr lang="zh-Hans" sz="2400" b="0" i="0" u="none" strike="noStrike">
                <a:solidFill>
                  <a:srgbClr val="000000"/>
                </a:solidFill>
                <a:highlight>
                  <a:srgbClr val="000000">
                    <a:alpha val="0"/>
                  </a:srgbClr>
                </a:highlight>
                <a:latin typeface="Simsun"/>
                <a:ea typeface="Simsun"/>
              </a:rPr>
              <a:t>消除在新建筑和重大翻修中使用化石燃料</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采用监管的时间表和后续步骤</a:t>
            </a:r>
            <a:br>
              <a:rPr lang="zh-Hans" sz="28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问题和答案</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4</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78040318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议程</a:t>
            </a:r>
          </a:p>
        </p:txBody>
      </p:sp>
      <p:sp>
        <p:nvSpPr>
          <p:cNvPr id="3" name="Content Placeholder 2">
            <a:extLst>
              <a:ext uri="{FF2B5EF4-FFF2-40B4-BE49-F238E27FC236}">
                <a16:creationId xmlns:a16="http://schemas.microsoft.com/office/drawing/2014/main" id="{06AC962A-FABE-4F14-91E7-A91AD417ADFF}"/>
              </a:ext>
            </a:extLst>
          </p:cNvPr>
          <p:cNvSpPr>
            <a:spLocks noGrp="1"/>
          </p:cNvSpPr>
          <p:nvPr>
            <p:ph idx="1"/>
          </p:nvPr>
        </p:nvSpPr>
        <p:spPr>
          <a:xfrm>
            <a:off x="723898" y="1677725"/>
            <a:ext cx="10744203" cy="4472144"/>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背景：</a:t>
            </a:r>
          </a:p>
          <a:p>
            <a:pPr lvl="1" rtl="0">
              <a:spcBef>
                <a:spcPts val="600"/>
              </a:spcBef>
            </a:pPr>
            <a:r>
              <a:rPr lang="zh-Hans" sz="2400" b="0" i="0" u="none" strike="noStrike">
                <a:solidFill>
                  <a:srgbClr val="000000"/>
                </a:solidFill>
                <a:highlight>
                  <a:srgbClr val="000000">
                    <a:alpha val="0"/>
                  </a:srgbClr>
                </a:highlight>
                <a:latin typeface="Simsun"/>
                <a:ea typeface="Simsun"/>
              </a:rPr>
              <a:t>Cambridge 应对气候变化的举措</a:t>
            </a:r>
            <a:br>
              <a:rPr lang="zh-Hans" sz="2400" b="0" i="0" u="none" strike="noStrike">
                <a:solidFill>
                  <a:srgbClr val="000000"/>
                </a:solidFill>
                <a:highlight>
                  <a:srgbClr val="000000">
                    <a:alpha val="0"/>
                  </a:srgbClr>
                </a:highlight>
                <a:latin typeface="Simsun"/>
                <a:ea typeface="Simsun"/>
              </a:rPr>
            </a:b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新规定：</a:t>
            </a:r>
          </a:p>
          <a:p>
            <a:pPr lvl="1" rtl="0">
              <a:spcBef>
                <a:spcPts val="600"/>
              </a:spcBef>
            </a:pPr>
            <a:r>
              <a:rPr lang="zh-Hans" sz="2400" b="0" i="0" u="none" strike="noStrike">
                <a:solidFill>
                  <a:srgbClr val="BFBFBF"/>
                </a:solidFill>
                <a:highlight>
                  <a:srgbClr val="000000">
                    <a:alpha val="0"/>
                  </a:srgbClr>
                </a:highlight>
                <a:latin typeface="Simsun"/>
                <a:ea typeface="Simsun"/>
              </a:rPr>
              <a:t>Massachusetts 州无化石燃料示范计划</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提议的要求：</a:t>
            </a:r>
          </a:p>
          <a:p>
            <a:pPr lvl="1" rtl="0">
              <a:spcBef>
                <a:spcPts val="600"/>
              </a:spcBef>
            </a:pPr>
            <a:r>
              <a:rPr lang="zh-Hans" sz="2400" b="0" i="0" u="none" strike="noStrike">
                <a:solidFill>
                  <a:srgbClr val="BFBFBF"/>
                </a:solidFill>
                <a:highlight>
                  <a:srgbClr val="000000">
                    <a:alpha val="0"/>
                  </a:srgbClr>
                </a:highlight>
                <a:latin typeface="Simsun"/>
                <a:ea typeface="Simsun"/>
              </a:rPr>
              <a:t>消除在新建筑和重大翻修中使用化石燃料</a:t>
            </a:r>
            <a:br>
              <a:rPr lang="zh-Hans" sz="24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采用监管的时间表和后续步骤</a:t>
            </a:r>
            <a:br>
              <a:rPr lang="zh-Hans" sz="2800" b="0" i="0" u="none" strike="noStrike">
                <a:solidFill>
                  <a:srgbClr val="BFBFBF"/>
                </a:solidFill>
                <a:highlight>
                  <a:srgbClr val="000000">
                    <a:alpha val="0"/>
                  </a:srgbClr>
                </a:highlight>
                <a:latin typeface="Simsun"/>
                <a:ea typeface="Simsun"/>
              </a:rPr>
            </a:br>
            <a:endParaRPr lang="en-US">
              <a:solidFill>
                <a:schemeClr val="bg1">
                  <a:lumMod val="75000"/>
                </a:schemeClr>
              </a:solidFill>
              <a:latin typeface="Calibri" panose="020F0502020204030204" pitchFamily="34" charset="0"/>
            </a:endParaRPr>
          </a:p>
          <a:p>
            <a:pPr marL="0" indent="0" rtl="0">
              <a:spcBef>
                <a:spcPts val="600"/>
              </a:spcBef>
              <a:buNone/>
            </a:pPr>
            <a:r>
              <a:rPr lang="zh-Hans" sz="2800" b="0" i="0" u="none" strike="noStrike">
                <a:solidFill>
                  <a:srgbClr val="BFBFBF"/>
                </a:solidFill>
                <a:highlight>
                  <a:srgbClr val="000000">
                    <a:alpha val="0"/>
                  </a:srgbClr>
                </a:highlight>
                <a:latin typeface="Simsun"/>
                <a:ea typeface="Simsun"/>
              </a:rPr>
              <a:t>问题和答案</a:t>
            </a:r>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5</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927234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976856"/>
            <a:ext cx="10515600" cy="1049082"/>
          </a:xfrm>
        </p:spPr>
        <p:txBody>
          <a:bodyPr>
            <a:noAutofit/>
          </a:bodyPr>
          <a:lstStyle/>
          <a:p>
            <a:pPr rtl="0"/>
            <a:r>
              <a:rPr lang="zh-Hans" sz="4400" b="1" i="0" u="none" strike="noStrike">
                <a:solidFill>
                  <a:srgbClr val="1269A2"/>
                </a:solidFill>
                <a:highlight>
                  <a:srgbClr val="000000">
                    <a:alpha val="0"/>
                  </a:srgbClr>
                </a:highlight>
                <a:latin typeface="Simsun"/>
                <a:ea typeface="Simsun"/>
              </a:rPr>
              <a:t>Cambridge 长期以来致力于采取行动应对气候变化</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11" name="Content Placeholder 2">
            <a:extLst>
              <a:ext uri="{FF2B5EF4-FFF2-40B4-BE49-F238E27FC236}">
                <a16:creationId xmlns:a16="http://schemas.microsoft.com/office/drawing/2014/main" id="{80375151-8B20-3D8C-FEBF-EF4330089FFA}"/>
              </a:ext>
            </a:extLst>
          </p:cNvPr>
          <p:cNvSpPr>
            <a:spLocks noGrp="1"/>
          </p:cNvSpPr>
          <p:nvPr>
            <p:ph idx="1"/>
          </p:nvPr>
        </p:nvSpPr>
        <p:spPr>
          <a:xfrm>
            <a:off x="725188" y="2229307"/>
            <a:ext cx="4692637" cy="3920561"/>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Cambridge 正在采取行动以：</a:t>
            </a:r>
          </a:p>
          <a:p>
            <a:pPr rtl="0">
              <a:spcBef>
                <a:spcPts val="600"/>
              </a:spcBef>
            </a:pPr>
            <a:r>
              <a:rPr lang="zh-Hans" sz="2800" b="0" i="0" u="none" strike="noStrike">
                <a:solidFill>
                  <a:srgbClr val="000000"/>
                </a:solidFill>
                <a:highlight>
                  <a:srgbClr val="000000">
                    <a:alpha val="0"/>
                  </a:srgbClr>
                </a:highlight>
                <a:latin typeface="Simsun"/>
                <a:ea typeface="Simsun"/>
              </a:rPr>
              <a:t>在 2050 年将我们的温室气体排放量降至零</a:t>
            </a:r>
          </a:p>
          <a:p>
            <a:pPr rtl="0">
              <a:spcBef>
                <a:spcPts val="600"/>
              </a:spcBef>
            </a:pPr>
            <a:r>
              <a:rPr lang="zh-Hans" sz="2800" b="0" i="0" u="none" strike="noStrike">
                <a:solidFill>
                  <a:srgbClr val="000000"/>
                </a:solidFill>
                <a:highlight>
                  <a:srgbClr val="000000">
                    <a:alpha val="0"/>
                  </a:srgbClr>
                </a:highlight>
                <a:latin typeface="Simsun"/>
                <a:ea typeface="Simsun"/>
              </a:rPr>
              <a:t>为气候影响做好准备</a:t>
            </a:r>
          </a:p>
          <a:p>
            <a:pPr>
              <a:spcBef>
                <a:spcPts val="600"/>
              </a:spcBef>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Cambridge 是 Boston area 更大的城市联盟的一部分，该联盟致力于实现 2050 年的目标。</a:t>
            </a:r>
          </a:p>
        </p:txBody>
      </p:sp>
      <p:pic>
        <p:nvPicPr>
          <p:cNvPr id="4" name="Picture 3" descr="Meeting of metro mayors">
            <a:extLst>
              <a:ext uri="{FF2B5EF4-FFF2-40B4-BE49-F238E27FC236}">
                <a16:creationId xmlns:a16="http://schemas.microsoft.com/office/drawing/2014/main" id="{82CC64F2-5936-D499-C8C7-9411BB4F9974}"/>
              </a:ext>
            </a:extLst>
          </p:cNvPr>
          <p:cNvPicPr>
            <a:picLocks noChangeAspect="1"/>
          </p:cNvPicPr>
          <p:nvPr/>
        </p:nvPicPr>
        <p:blipFill>
          <a:blip r:embed="rId3"/>
          <a:stretch>
            <a:fillRect/>
          </a:stretch>
        </p:blipFill>
        <p:spPr>
          <a:xfrm>
            <a:off x="6003776" y="2229307"/>
            <a:ext cx="4692636" cy="2989420"/>
          </a:xfrm>
          <a:prstGeom prst="rect">
            <a:avLst/>
          </a:prstGeom>
        </p:spPr>
      </p:pic>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6</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38904145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725188" y="773486"/>
            <a:ext cx="10515600"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Cambridge 排放的温室气体 (GHG) 最多的建筑物</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11" name="Content Placeholder 2">
            <a:extLst>
              <a:ext uri="{FF2B5EF4-FFF2-40B4-BE49-F238E27FC236}">
                <a16:creationId xmlns:a16="http://schemas.microsoft.com/office/drawing/2014/main" id="{80375151-8B20-3D8C-FEBF-EF4330089FFA}"/>
              </a:ext>
            </a:extLst>
          </p:cNvPr>
          <p:cNvSpPr>
            <a:spLocks noGrp="1"/>
          </p:cNvSpPr>
          <p:nvPr>
            <p:ph idx="1"/>
          </p:nvPr>
        </p:nvSpPr>
        <p:spPr>
          <a:xfrm>
            <a:off x="7229856" y="2084831"/>
            <a:ext cx="4238245" cy="4065037"/>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来自使用现场化石燃料（天然气、石油等）和电力的建筑排放。</a:t>
            </a:r>
          </a:p>
          <a:p>
            <a:pPr marL="0" indent="0">
              <a:spcBef>
                <a:spcPts val="600"/>
              </a:spcBef>
              <a:buNone/>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电力逐年变得更加清洁，预计直到 2030 年，大部分电力将会是可再生电力。</a:t>
            </a:r>
          </a:p>
        </p:txBody>
      </p:sp>
      <p:graphicFrame>
        <p:nvGraphicFramePr>
          <p:cNvPr id="3" name="Chart 2" descr="83% of GHG emissions in Cambridge come from buildings&#10;">
            <a:extLst>
              <a:ext uri="{FF2B5EF4-FFF2-40B4-BE49-F238E27FC236}">
                <a16:creationId xmlns:a16="http://schemas.microsoft.com/office/drawing/2014/main" id="{4D729383-A3E2-ABBC-94AE-375541A950E8}"/>
              </a:ext>
            </a:extLst>
          </p:cNvPr>
          <p:cNvGraphicFramePr/>
          <p:nvPr>
            <p:custDataLst>
              <p:tags r:id="rId1"/>
            </p:custDataLst>
            <p:extLst>
              <p:ext uri="{D42A27DB-BD31-4B8C-83A1-F6EECF244321}">
                <p14:modId xmlns:p14="http://schemas.microsoft.com/office/powerpoint/2010/main" val="527089088"/>
              </p:ext>
            </p:extLst>
          </p:nvPr>
        </p:nvGraphicFramePr>
        <p:xfrm>
          <a:off x="2124075" y="2224088"/>
          <a:ext cx="3983038" cy="3663950"/>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2">
            <a:extLst>
              <a:ext uri="{FF2B5EF4-FFF2-40B4-BE49-F238E27FC236}">
                <a16:creationId xmlns:a16="http://schemas.microsoft.com/office/drawing/2014/main" id="{39CAB15A-E557-E834-FDBF-E6E97286C4B5}"/>
              </a:ext>
            </a:extLst>
          </p:cNvPr>
          <p:cNvSpPr>
            <a:spLocks noGrp="1"/>
          </p:cNvSpPr>
          <p:nvPr>
            <p:custDataLst>
              <p:tags r:id="rId2"/>
            </p:custDataLst>
          </p:nvPr>
        </p:nvSpPr>
        <p:spPr bwMode="auto">
          <a:xfrm>
            <a:off x="4959350" y="5616575"/>
            <a:ext cx="130492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rtl="0">
              <a:spcBef>
                <a:spcPct val="0"/>
              </a:spcBef>
              <a:spcAft>
                <a:spcPct val="0"/>
              </a:spcAft>
              <a:buNone/>
            </a:pPr>
            <a:r>
              <a:rPr lang="zh-Hans" sz="2800" b="0" i="0" u="none" strike="noStrike">
                <a:highlight>
                  <a:srgbClr val="000000">
                    <a:alpha val="0"/>
                  </a:srgbClr>
                </a:highlight>
                <a:latin typeface="Simsun"/>
                <a:ea typeface="Simsun"/>
              </a:rPr>
              <a:t>建筑物</a:t>
            </a:r>
            <a:endParaRPr lang="en-US"/>
          </a:p>
        </p:txBody>
      </p:sp>
      <p:sp>
        <p:nvSpPr>
          <p:cNvPr id="5" name="Text Placeholder 2">
            <a:extLst>
              <a:ext uri="{FF2B5EF4-FFF2-40B4-BE49-F238E27FC236}">
                <a16:creationId xmlns:a16="http://schemas.microsoft.com/office/drawing/2014/main" id="{1C6C5C92-375C-84E1-8E94-D2AF9314A37B}"/>
              </a:ext>
            </a:extLst>
          </p:cNvPr>
          <p:cNvSpPr>
            <a:spLocks noGrp="1"/>
          </p:cNvSpPr>
          <p:nvPr>
            <p:custDataLst>
              <p:tags r:id="rId3"/>
            </p:custDataLst>
          </p:nvPr>
        </p:nvSpPr>
        <p:spPr bwMode="auto">
          <a:xfrm>
            <a:off x="779463" y="2371725"/>
            <a:ext cx="21193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rtl="0">
              <a:spcBef>
                <a:spcPct val="0"/>
              </a:spcBef>
              <a:spcAft>
                <a:spcPct val="0"/>
              </a:spcAft>
              <a:buNone/>
            </a:pPr>
            <a:r>
              <a:rPr lang="zh-Hans" sz="2800" b="0" i="0" u="none" strike="noStrike">
                <a:highlight>
                  <a:srgbClr val="000000">
                    <a:alpha val="0"/>
                  </a:srgbClr>
                </a:highlight>
                <a:latin typeface="Simsun"/>
                <a:ea typeface="Simsun"/>
              </a:rPr>
              <a:t>运输</a:t>
            </a:r>
            <a:endParaRPr lang="en-US"/>
          </a:p>
        </p:txBody>
      </p:sp>
      <p:sp>
        <p:nvSpPr>
          <p:cNvPr id="10" name="Text Placeholder 2">
            <a:extLst>
              <a:ext uri="{FF2B5EF4-FFF2-40B4-BE49-F238E27FC236}">
                <a16:creationId xmlns:a16="http://schemas.microsoft.com/office/drawing/2014/main" id="{B294FC7F-3055-723D-D8CB-28DFC3D1DD68}"/>
              </a:ext>
            </a:extLst>
          </p:cNvPr>
          <p:cNvSpPr>
            <a:spLocks noGrp="1"/>
          </p:cNvSpPr>
          <p:nvPr>
            <p:custDataLst>
              <p:tags r:id="rId4"/>
            </p:custDataLst>
          </p:nvPr>
        </p:nvSpPr>
        <p:spPr bwMode="auto">
          <a:xfrm>
            <a:off x="2970213" y="1914525"/>
            <a:ext cx="9001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rtl="0">
              <a:spcBef>
                <a:spcPct val="0"/>
              </a:spcBef>
              <a:spcAft>
                <a:spcPct val="0"/>
              </a:spcAft>
              <a:buNone/>
            </a:pPr>
            <a:r>
              <a:rPr lang="zh-Hans" sz="2800" b="0" i="0" u="none" strike="noStrike">
                <a:highlight>
                  <a:srgbClr val="000000">
                    <a:alpha val="0"/>
                  </a:srgbClr>
                </a:highlight>
                <a:latin typeface="Simsun"/>
                <a:ea typeface="Simsun"/>
              </a:rPr>
              <a:t>废料</a:t>
            </a:r>
            <a:endParaRPr lang="en-US"/>
          </a:p>
        </p:txBody>
      </p:sp>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7</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graphicFrame>
        <p:nvGraphicFramePr>
          <p:cNvPr id="7" name="Chart 6" descr="83% of GHG emissions in Cambridge come from buildings&#10;">
            <a:extLst>
              <a:ext uri="{FF2B5EF4-FFF2-40B4-BE49-F238E27FC236}">
                <a16:creationId xmlns:a16="http://schemas.microsoft.com/office/drawing/2014/main" id="{F14D6D29-3253-FFDE-BCA2-F8E6D437AF76}"/>
              </a:ext>
            </a:extLst>
          </p:cNvPr>
          <p:cNvGraphicFramePr/>
          <p:nvPr>
            <p:custDataLst>
              <p:tags r:id="rId5"/>
            </p:custDataLst>
            <p:extLst>
              <p:ext uri="{D42A27DB-BD31-4B8C-83A1-F6EECF244321}">
                <p14:modId xmlns:p14="http://schemas.microsoft.com/office/powerpoint/2010/main" val="4067950247"/>
              </p:ext>
            </p:extLst>
          </p:nvPr>
        </p:nvGraphicFramePr>
        <p:xfrm>
          <a:off x="2100013" y="2280236"/>
          <a:ext cx="3983038" cy="36639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5061391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756351"/>
            <a:ext cx="10515600" cy="1049082"/>
          </a:xfrm>
        </p:spPr>
        <p:txBody>
          <a:bodyPr>
            <a:noAutofit/>
          </a:bodyPr>
          <a:lstStyle/>
          <a:p>
            <a:pPr rtl="0"/>
            <a:r>
              <a:rPr lang="zh-Hans" sz="3200" b="1" i="0" u="none" strike="noStrike">
                <a:solidFill>
                  <a:srgbClr val="1269A2"/>
                </a:solidFill>
                <a:highlight>
                  <a:srgbClr val="000000">
                    <a:alpha val="0"/>
                  </a:srgbClr>
                </a:highlight>
                <a:latin typeface="Simsun"/>
                <a:ea typeface="Simsun"/>
              </a:rPr>
              <a:t>Cambridge 制定了长期净零行动计划，以减少建筑物的排放</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sp>
        <p:nvSpPr>
          <p:cNvPr id="4" name="Content Placeholder 2">
            <a:extLst>
              <a:ext uri="{FF2B5EF4-FFF2-40B4-BE49-F238E27FC236}">
                <a16:creationId xmlns:a16="http://schemas.microsoft.com/office/drawing/2014/main" id="{DC0520D7-75CC-508B-69FB-965CE40BDC11}"/>
              </a:ext>
            </a:extLst>
          </p:cNvPr>
          <p:cNvSpPr>
            <a:spLocks noGrp="1"/>
          </p:cNvSpPr>
          <p:nvPr>
            <p:ph idx="1"/>
          </p:nvPr>
        </p:nvSpPr>
        <p:spPr>
          <a:xfrm>
            <a:off x="6912864" y="1805433"/>
            <a:ext cx="4555237" cy="4344435"/>
          </a:xfrm>
        </p:spPr>
        <p:txBody>
          <a:bodyPr>
            <a:noAutofit/>
          </a:bodyPr>
          <a:lstStyle/>
          <a:p>
            <a:pPr marL="0" indent="0" rtl="0">
              <a:spcBef>
                <a:spcPts val="600"/>
              </a:spcBef>
              <a:buNone/>
            </a:pPr>
            <a:r>
              <a:rPr lang="zh-Hans" sz="2800" b="0" i="0" u="none" strike="noStrike">
                <a:solidFill>
                  <a:srgbClr val="000000"/>
                </a:solidFill>
                <a:highlight>
                  <a:srgbClr val="000000">
                    <a:alpha val="0"/>
                  </a:srgbClr>
                </a:highlight>
                <a:latin typeface="Simsun"/>
                <a:ea typeface="Simsun"/>
              </a:rPr>
              <a:t>净零行动计划于 2015 年首次通过，并于 2021 年通过社区主导的流程进行更新。</a:t>
            </a:r>
          </a:p>
          <a:p>
            <a:pPr marL="0" indent="0">
              <a:spcBef>
                <a:spcPts val="600"/>
              </a:spcBef>
              <a:buNone/>
            </a:pPr>
            <a:endParaRPr lang="en-US">
              <a:solidFill>
                <a:schemeClr val="tx2"/>
              </a:solidFill>
              <a:latin typeface="Calibri" panose="020F0502020204030204" pitchFamily="34" charset="0"/>
            </a:endParaRPr>
          </a:p>
          <a:p>
            <a:pPr marL="0" indent="0" rtl="0">
              <a:spcBef>
                <a:spcPts val="600"/>
              </a:spcBef>
              <a:buNone/>
            </a:pPr>
            <a:r>
              <a:rPr lang="zh-Hans" sz="2800" b="0" i="0" u="none" strike="noStrike">
                <a:solidFill>
                  <a:srgbClr val="000000"/>
                </a:solidFill>
                <a:highlight>
                  <a:srgbClr val="000000">
                    <a:alpha val="0"/>
                  </a:srgbClr>
                </a:highlight>
                <a:latin typeface="Simsun"/>
                <a:ea typeface="Simsun"/>
              </a:rPr>
              <a:t>它确定了到 2050 年消除</a:t>
            </a:r>
            <a:r>
              <a:rPr lang="zh-Hans" sz="2800" b="1" i="0" u="none" strike="noStrike">
                <a:solidFill>
                  <a:srgbClr val="000000"/>
                </a:solidFill>
                <a:highlight>
                  <a:srgbClr val="000000">
                    <a:alpha val="0"/>
                  </a:srgbClr>
                </a:highlight>
                <a:latin typeface="Simsun"/>
                <a:ea typeface="Simsun"/>
              </a:rPr>
              <a:t>建筑物</a:t>
            </a:r>
            <a:r>
              <a:rPr lang="zh-Hans" sz="2800" b="0" i="0" u="none" strike="noStrike">
                <a:solidFill>
                  <a:srgbClr val="000000"/>
                </a:solidFill>
                <a:highlight>
                  <a:srgbClr val="000000">
                    <a:alpha val="0"/>
                  </a:srgbClr>
                </a:highlight>
                <a:latin typeface="Simsun"/>
                <a:ea typeface="Simsun"/>
              </a:rPr>
              <a:t>温室气体排放的政策和计划。</a:t>
            </a:r>
          </a:p>
        </p:txBody>
      </p:sp>
      <p:pic>
        <p:nvPicPr>
          <p:cNvPr id="3" name="Picture 2" descr="Net Zero Action Plan">
            <a:extLst>
              <a:ext uri="{FF2B5EF4-FFF2-40B4-BE49-F238E27FC236}">
                <a16:creationId xmlns:a16="http://schemas.microsoft.com/office/drawing/2014/main" id="{FAE45911-6294-4543-5D47-8CC65D76669B}"/>
              </a:ext>
            </a:extLst>
          </p:cNvPr>
          <p:cNvPicPr>
            <a:picLocks noChangeAspect="1"/>
          </p:cNvPicPr>
          <p:nvPr/>
        </p:nvPicPr>
        <p:blipFill>
          <a:blip r:embed="rId2">
            <a:clrChange>
              <a:clrFrom>
                <a:srgbClr val="D7EAE8"/>
              </a:clrFrom>
              <a:clrTo>
                <a:srgbClr val="D7EAE8">
                  <a:alpha val="0"/>
                </a:srgbClr>
              </a:clrTo>
            </a:clrChange>
          </a:blip>
          <a:srcRect l="52362" t="18431" r="17976" b="8462"/>
          <a:stretch>
            <a:fillRect/>
          </a:stretch>
        </p:blipFill>
        <p:spPr>
          <a:xfrm>
            <a:off x="652509" y="1713820"/>
            <a:ext cx="5869604" cy="4571053"/>
          </a:xfrm>
          <a:prstGeom prst="rect">
            <a:avLst/>
          </a:prstGeom>
        </p:spPr>
      </p:pic>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8</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05488438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CDFDF-B56B-4C43-BBBF-D35CEE5E475F}"/>
              </a:ext>
            </a:extLst>
          </p:cNvPr>
          <p:cNvSpPr>
            <a:spLocks noGrp="1"/>
          </p:cNvSpPr>
          <p:nvPr>
            <p:ph type="title"/>
          </p:nvPr>
        </p:nvSpPr>
        <p:spPr>
          <a:xfrm>
            <a:off x="652509" y="664739"/>
            <a:ext cx="10515600" cy="1049082"/>
          </a:xfrm>
        </p:spPr>
        <p:txBody>
          <a:bodyPr>
            <a:noAutofit/>
          </a:bodyPr>
          <a:lstStyle/>
          <a:p>
            <a:pPr rtl="0"/>
            <a:r>
              <a:rPr lang="zh-Hans" sz="2800" b="1" i="0" u="none" strike="noStrike">
                <a:solidFill>
                  <a:srgbClr val="1269A2"/>
                </a:solidFill>
                <a:highlight>
                  <a:srgbClr val="000000">
                    <a:alpha val="0"/>
                  </a:srgbClr>
                </a:highlight>
                <a:latin typeface="Simsun"/>
                <a:ea typeface="Simsun"/>
              </a:rPr>
              <a:t>净零行动计划采取行动解决现有和新建建筑的排放问题</a:t>
            </a:r>
          </a:p>
        </p:txBody>
      </p:sp>
      <p:sp>
        <p:nvSpPr>
          <p:cNvPr id="6" name="Rectangle 5">
            <a:extLst>
              <a:ext uri="{FF2B5EF4-FFF2-40B4-BE49-F238E27FC236}">
                <a16:creationId xmlns:a16="http://schemas.microsoft.com/office/drawing/2014/main" id="{0038D609-7001-4947-92BB-A379E0414168}"/>
              </a:ext>
              <a:ext uri="{C183D7F6-B498-43B3-948B-1728B52AA6E4}">
                <adec:decorative xmlns:adec="http://schemas.microsoft.com/office/drawing/2017/decorative" val="1"/>
              </a:ext>
            </a:extLst>
          </p:cNvPr>
          <p:cNvSpPr/>
          <p:nvPr/>
        </p:nvSpPr>
        <p:spPr>
          <a:xfrm>
            <a:off x="725188" y="573126"/>
            <a:ext cx="2768252" cy="200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25000" noProof="0">
              <a:ln>
                <a:noFill/>
              </a:ln>
              <a:solidFill>
                <a:srgbClr val="FFFFFF"/>
              </a:solidFill>
              <a:effectLst/>
              <a:uLnTx/>
              <a:uFillTx/>
              <a:latin typeface="Calibri"/>
              <a:ea typeface="+mn-ea"/>
              <a:cs typeface="+mn-cs"/>
            </a:endParaRPr>
          </a:p>
        </p:txBody>
      </p:sp>
      <p:pic>
        <p:nvPicPr>
          <p:cNvPr id="50" name="Picture 49" descr="Net Zero Action Plan">
            <a:extLst>
              <a:ext uri="{FF2B5EF4-FFF2-40B4-BE49-F238E27FC236}">
                <a16:creationId xmlns:a16="http://schemas.microsoft.com/office/drawing/2014/main" id="{A1F8D0D6-16E7-918C-6278-B9522CE6D9E9}"/>
              </a:ext>
            </a:extLst>
          </p:cNvPr>
          <p:cNvPicPr>
            <a:picLocks noChangeAspect="1"/>
          </p:cNvPicPr>
          <p:nvPr/>
        </p:nvPicPr>
        <p:blipFill>
          <a:blip r:embed="rId2"/>
          <a:stretch>
            <a:fillRect/>
          </a:stretch>
        </p:blipFill>
        <p:spPr>
          <a:xfrm>
            <a:off x="1749433" y="1679386"/>
            <a:ext cx="8693133" cy="4895331"/>
          </a:xfrm>
          <a:prstGeom prst="rect">
            <a:avLst/>
          </a:prstGeom>
        </p:spPr>
      </p:pic>
      <p:sp>
        <p:nvSpPr>
          <p:cNvPr id="8" name="Footer Placeholder 2">
            <a:extLst>
              <a:ext uri="{FF2B5EF4-FFF2-40B4-BE49-F238E27FC236}">
                <a16:creationId xmlns:a16="http://schemas.microsoft.com/office/drawing/2014/main" id="{8DE9A669-D776-4F40-B93F-5C8937EDB3CB}"/>
              </a:ext>
            </a:extLst>
          </p:cNvPr>
          <p:cNvSpPr>
            <a:spLocks noGrp="1"/>
          </p:cNvSpPr>
          <p:nvPr>
            <p:ph type="ftr" sz="quarter" idx="3"/>
          </p:nvPr>
        </p:nvSpPr>
        <p:spPr>
          <a:xfrm>
            <a:off x="71700" y="6574717"/>
            <a:ext cx="4114800" cy="262815"/>
          </a:xfrm>
        </p:spPr>
        <p:txBody>
          <a:bodyP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Cambridge 市 - 社区发展部</a:t>
            </a:r>
          </a:p>
        </p:txBody>
      </p:sp>
      <p:sp>
        <p:nvSpPr>
          <p:cNvPr id="9" name="Slide Number Placeholder 3">
            <a:extLst>
              <a:ext uri="{FF2B5EF4-FFF2-40B4-BE49-F238E27FC236}">
                <a16:creationId xmlns:a16="http://schemas.microsoft.com/office/drawing/2014/main" id="{BADF41E3-B302-4C05-B004-242B35D59BFB}"/>
              </a:ext>
            </a:extLst>
          </p:cNvPr>
          <p:cNvSpPr>
            <a:spLocks noGrp="1"/>
          </p:cNvSpPr>
          <p:nvPr>
            <p:ph type="sldNum" sz="quarter" idx="4"/>
          </p:nvPr>
        </p:nvSpPr>
        <p:spPr>
          <a:xfrm>
            <a:off x="9324812" y="6574717"/>
            <a:ext cx="2743200" cy="262815"/>
          </a:xfrm>
        </p:spPr>
        <p:txBody>
          <a:bodyPr>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100" b="0" i="0" u="none" strike="noStrike" kern="1200" cap="none" spc="0" normalizeH="0" baseline="0" noProof="0">
                <a:solidFill>
                  <a:srgbClr val="8AA1BF"/>
                </a:solidFill>
                <a:highlight>
                  <a:srgbClr val="000000">
                    <a:alpha val="0"/>
                  </a:srgbClr>
                </a:highlight>
                <a:uLnTx/>
                <a:uFillTx/>
                <a:latin typeface="Simsun"/>
                <a:ea typeface="Simsun"/>
                <a:cs typeface="+mn-cs"/>
              </a:rPr>
              <a:t>2023 年 7 月              9</a:t>
            </a:r>
            <a:endParaRPr kumimoji="0" lang="en-US" sz="1100" b="0" i="0" u="none" strike="noStrike" kern="1200" cap="none" spc="0" normalizeH="0" baseline="0" noProof="0">
              <a:ln>
                <a:noFill/>
              </a:ln>
              <a:solidFill>
                <a:srgbClr val="1269A2">
                  <a:tint val="75000"/>
                </a:srgbClr>
              </a:solidFill>
              <a:effectLst/>
              <a:uLnTx/>
              <a:uFillTx/>
              <a:latin typeface="Calibri"/>
              <a:ea typeface="+mn-ea"/>
              <a:cs typeface="+mn-cs"/>
            </a:endParaRPr>
          </a:p>
        </p:txBody>
      </p:sp>
    </p:spTree>
    <p:extLst>
      <p:ext uri="{BB962C8B-B14F-4D97-AF65-F5344CB8AC3E}">
        <p14:creationId xmlns:p14="http://schemas.microsoft.com/office/powerpoint/2010/main" val="15644775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3.1.12"/>
  <p:tag name="AS_OS" val="Unix 5.4.209.116"/>
  <p:tag name="AS_RELEASE_DATE" val="2020.03.14"/>
  <p:tag name="AS_TITLE" val="Aspose.Slides for .NET Standard 2.0"/>
  <p:tag name="AS_VERSION" val="20.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ekIDfDwYm_EWmPJqlWV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jmRJuAw6Nk19E6ww_x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FzHuYJ_0K4SBjAdGrRE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mVGaBuFm6pgNOl6yERq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ekIDfDwYm_EWmPJqlWV2w"/>
</p:tagLst>
</file>

<file path=ppt/theme/theme1.xml><?xml version="1.0" encoding="utf-8"?>
<a:theme xmlns:a="http://schemas.openxmlformats.org/drawingml/2006/main" name="1_Office Theme">
  <a:themeElements>
    <a:clrScheme name="Custom 8">
      <a:dk1>
        <a:srgbClr val="1269A2"/>
      </a:dk1>
      <a:lt1>
        <a:srgbClr val="FFFFFF"/>
      </a:lt1>
      <a:dk2>
        <a:srgbClr val="000000"/>
      </a:dk2>
      <a:lt2>
        <a:srgbClr val="C8D068"/>
      </a:lt2>
      <a:accent1>
        <a:srgbClr val="1269A2"/>
      </a:accent1>
      <a:accent2>
        <a:srgbClr val="C8D068"/>
      </a:accent2>
      <a:accent3>
        <a:srgbClr val="AEABAB"/>
      </a:accent3>
      <a:accent4>
        <a:srgbClr val="FFFFFF"/>
      </a:accent4>
      <a:accent5>
        <a:srgbClr val="1269A2"/>
      </a:accent5>
      <a:accent6>
        <a:srgbClr val="70AD47"/>
      </a:accent6>
      <a:hlink>
        <a:srgbClr val="0D4E79"/>
      </a:hlink>
      <a:folHlink>
        <a:srgbClr val="ED7D31"/>
      </a:folHlink>
    </a:clrScheme>
    <a:fontScheme name="Custom 1">
      <a:majorFont>
        <a:latin typeface="Calibri"/>
        <a:ea typeface="Arial"/>
        <a:cs typeface="Arial"/>
      </a:majorFont>
      <a:minorFont>
        <a:latin typeface="Calibr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wrap="square" rtlCol="0" anchor="ctr">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59CE57B8D5A54AABA9F82446E79BC9" ma:contentTypeVersion="13" ma:contentTypeDescription="Create a new document." ma:contentTypeScope="" ma:versionID="9f27886fb41cb719309cf082aef484e1">
  <xsd:schema xmlns:xsd="http://www.w3.org/2001/XMLSchema" xmlns:xs="http://www.w3.org/2001/XMLSchema" xmlns:p="http://schemas.microsoft.com/office/2006/metadata/properties" xmlns:ns2="39222cad-37d3-4250-8101-175b76bc4737" xmlns:ns3="cf4093f2-ea7e-4937-a622-b54e6f5b5c86" targetNamespace="http://schemas.microsoft.com/office/2006/metadata/properties" ma:root="true" ma:fieldsID="ec1b29d5442133302f9b436e86050124" ns2:_="" ns3:_="">
    <xsd:import namespace="39222cad-37d3-4250-8101-175b76bc4737"/>
    <xsd:import namespace="cf4093f2-ea7e-4937-a622-b54e6f5b5c8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222cad-37d3-4250-8101-175b76bc47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0e9f556-afc0-44b9-a5d7-d85c3b214b2d"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4093f2-ea7e-4937-a622-b54e6f5b5c8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e34761a-d0d8-494d-98b9-bd5190a06359}" ma:internalName="TaxCatchAll" ma:showField="CatchAllData" ma:web="cf4093f2-ea7e-4937-a622-b54e6f5b5c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9222cad-37d3-4250-8101-175b76bc4737">
      <Terms xmlns="http://schemas.microsoft.com/office/infopath/2007/PartnerControls"/>
    </lcf76f155ced4ddcb4097134ff3c332f>
    <TaxCatchAll xmlns="cf4093f2-ea7e-4937-a622-b54e6f5b5c86" xsi:nil="true"/>
    <SharedWithUsers xmlns="cf4093f2-ea7e-4937-a622-b54e6f5b5c86">
      <UserInfo>
        <DisplayName/>
        <AccountId xsi:nil="true"/>
        <AccountType/>
      </UserInfo>
    </SharedWithUsers>
  </documentManagement>
</p:properties>
</file>

<file path=customXml/itemProps1.xml><?xml version="1.0" encoding="utf-8"?>
<ds:datastoreItem xmlns:ds="http://schemas.openxmlformats.org/officeDocument/2006/customXml" ds:itemID="{FE0AAA25-269B-4AC7-A93C-ABE6EE43E8D1}">
  <ds:schemaRefs>
    <ds:schemaRef ds:uri="http://schemas.microsoft.com/sharepoint/v3/contenttype/forms"/>
  </ds:schemaRefs>
</ds:datastoreItem>
</file>

<file path=customXml/itemProps2.xml><?xml version="1.0" encoding="utf-8"?>
<ds:datastoreItem xmlns:ds="http://schemas.openxmlformats.org/officeDocument/2006/customXml" ds:itemID="{DD5AB0FF-6216-4AAC-BE6C-20BFC8557843}">
  <ds:schemaRefs>
    <ds:schemaRef ds:uri="39222cad-37d3-4250-8101-175b76bc4737"/>
    <ds:schemaRef ds:uri="cf4093f2-ea7e-4937-a622-b54e6f5b5c8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0F5062-4803-4F8E-9FA4-6D6C0F2A017E}">
  <ds:schemaRefs>
    <ds:schemaRef ds:uri="39222cad-37d3-4250-8101-175b76bc4737"/>
    <ds:schemaRef ds:uri="cf4093f2-ea7e-4937-a622-b54e6f5b5c8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1</TotalTime>
  <Words>4094</Words>
  <Application>Microsoft Office PowerPoint</Application>
  <PresentationFormat>Widescreen</PresentationFormat>
  <Paragraphs>248</Paragraphs>
  <Slides>28</Slides>
  <Notes>6</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8</vt:i4>
      </vt:variant>
    </vt:vector>
  </HeadingPairs>
  <TitlesOfParts>
    <vt:vector size="32" baseType="lpstr">
      <vt:lpstr>Simsun</vt:lpstr>
      <vt:lpstr>Arial</vt:lpstr>
      <vt:lpstr>Calibri</vt:lpstr>
      <vt:lpstr>1_Office Theme</vt:lpstr>
      <vt:lpstr>无化石燃料建筑示范计划 - 概述</vt:lpstr>
      <vt:lpstr>欢迎</vt:lpstr>
      <vt:lpstr>提出问题或发表评论的说明</vt:lpstr>
      <vt:lpstr>议程</vt:lpstr>
      <vt:lpstr>议程</vt:lpstr>
      <vt:lpstr>Cambridge 长期以来致力于采取行动应对气候变化</vt:lpstr>
      <vt:lpstr>Cambridge 排放的温室气体 (GHG) 最多的建筑物</vt:lpstr>
      <vt:lpstr>Cambridge 制定了长期净零行动计划，以减少建筑物的排放</vt:lpstr>
      <vt:lpstr>净零行动计划采取行动解决现有和新建建筑的排放问题</vt:lpstr>
      <vt:lpstr>净零行动计划采取行动解决现有和新建建筑的排放问题</vt:lpstr>
      <vt:lpstr>Massachusetts 州已确定到 2050 年实现净零排放的政策和计划</vt:lpstr>
      <vt:lpstr>实现我们的气候目标意味着在新建建筑中逐步淘汰化石燃料</vt:lpstr>
      <vt:lpstr>建筑商必须安装清洁的全电力系统</vt:lpstr>
      <vt:lpstr>议程</vt:lpstr>
      <vt:lpstr>Massachusetts 州制定了无化石燃料示范计划</vt:lpstr>
      <vt:lpstr>Cambridge 获准参与 Massachusetts 州示范计划</vt:lpstr>
      <vt:lpstr>议程</vt:lpstr>
      <vt:lpstr>示范计划要求新建筑和重大翻新工程不使用化石燃料</vt:lpstr>
      <vt:lpstr>无化石燃料示范计划有建议或“示范”条例</vt:lpstr>
      <vt:lpstr>国家将对结果进行评估</vt:lpstr>
      <vt:lpstr>议程</vt:lpstr>
      <vt:lpstr>优先社区的时间表</vt:lpstr>
      <vt:lpstr>我们正在与 Cambridge 居民和业主分享有关该计划的信息</vt:lpstr>
      <vt:lpstr>我们希望您就 Cambridge 的新建筑和重大翻修如何实现无化石燃料提供反馈</vt:lpstr>
      <vt:lpstr>Cambridge 的下一步</vt:lpstr>
      <vt:lpstr>问题与解答</vt:lpstr>
      <vt:lpstr>了解更多信息</vt:lpstr>
      <vt:lpstr>谢谢你！</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ssil Fuel Free Building Demonstration Program - Overview</dc:title>
  <dc:creator>Nikhil Nadkarni</dc:creator>
  <cp:lastModifiedBy>Rosa, Crystal</cp:lastModifiedBy>
  <cp:revision>1</cp:revision>
  <cp:lastPrinted>2023-07-07T14:04:32Z</cp:lastPrinted>
  <dcterms:created xsi:type="dcterms:W3CDTF">2023-06-05T23:56:43Z</dcterms:created>
  <dcterms:modified xsi:type="dcterms:W3CDTF">2023-07-13T21: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ExtendedDescription">
    <vt:lpwstr/>
  </property>
  <property fmtid="{D5CDD505-2E9C-101B-9397-08002B2CF9AE}" pid="3" name="ComplianceAssetId">
    <vt:lpwstr/>
  </property>
  <property fmtid="{D5CDD505-2E9C-101B-9397-08002B2CF9AE}" pid="4" name="ContentTypeId">
    <vt:lpwstr>0x010100E759CE57B8D5A54AABA9F82446E79BC9</vt:lpwstr>
  </property>
  <property fmtid="{D5CDD505-2E9C-101B-9397-08002B2CF9AE}" pid="5" name="MediaServiceImageTags">
    <vt:lpwstr/>
  </property>
  <property fmtid="{D5CDD505-2E9C-101B-9397-08002B2CF9AE}" pid="6" name="Order">
    <vt:r8>88200</vt:r8>
  </property>
  <property fmtid="{D5CDD505-2E9C-101B-9397-08002B2CF9AE}" pid="7" name="TriggerFlowInfo">
    <vt:lpwstr/>
  </property>
</Properties>
</file>